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7" r:id="rId1"/>
  </p:sldMasterIdLst>
  <p:notesMasterIdLst>
    <p:notesMasterId r:id="rId18"/>
  </p:notesMasterIdLst>
  <p:sldIdLst>
    <p:sldId id="269" r:id="rId2"/>
    <p:sldId id="283" r:id="rId3"/>
    <p:sldId id="270" r:id="rId4"/>
    <p:sldId id="284" r:id="rId5"/>
    <p:sldId id="271" r:id="rId6"/>
    <p:sldId id="272" r:id="rId7"/>
    <p:sldId id="273" r:id="rId8"/>
    <p:sldId id="274" r:id="rId9"/>
    <p:sldId id="275" r:id="rId10"/>
    <p:sldId id="276" r:id="rId11"/>
    <p:sldId id="277" r:id="rId12"/>
    <p:sldId id="278" r:id="rId13"/>
    <p:sldId id="279" r:id="rId14"/>
    <p:sldId id="282" r:id="rId15"/>
    <p:sldId id="280" r:id="rId16"/>
    <p:sldId id="281" r:id="rId17"/>
  </p:sldIdLst>
  <p:sldSz cx="12192000" cy="6858000"/>
  <p:notesSz cx="6858000" cy="9144000"/>
  <p:custDataLst>
    <p:tags r:id="rId1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Isabelle Dupel" initials="ID" lastIdx="5" clrIdx="0">
    <p:extLst>
      <p:ext uri="{19B8F6BF-5375-455C-9EA6-DF929625EA0E}">
        <p15:presenceInfo xmlns:p15="http://schemas.microsoft.com/office/powerpoint/2012/main" userId="S-1-5-21-1097746622-914383597-1481268402-191382" providerId="AD"/>
      </p:ext>
    </p:extLst>
  </p:cmAuthor>
  <p:cmAuthor id="2" name="Chantal Bemeur" initials="CB" lastIdx="6" clrIdx="1">
    <p:extLst>
      <p:ext uri="{19B8F6BF-5375-455C-9EA6-DF929625EA0E}">
        <p15:presenceInfo xmlns:p15="http://schemas.microsoft.com/office/powerpoint/2012/main" userId="S-1-5-21-1097746622-914383597-1481268402-182385" providerId="AD"/>
      </p:ext>
    </p:extLst>
  </p:cmAuthor>
  <p:cmAuthor id="3" name="Nadiah Sadighi" initials="NS" lastIdx="1" clrIdx="2">
    <p:extLst>
      <p:ext uri="{19B8F6BF-5375-455C-9EA6-DF929625EA0E}">
        <p15:presenceInfo xmlns:p15="http://schemas.microsoft.com/office/powerpoint/2012/main" userId="S-1-5-21-1097746622-914383597-1481268402-25279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00" autoAdjust="0"/>
    <p:restoredTop sz="94660"/>
  </p:normalViewPr>
  <p:slideViewPr>
    <p:cSldViewPr snapToGrid="0">
      <p:cViewPr varScale="1">
        <p:scale>
          <a:sx n="105" d="100"/>
          <a:sy n="105" d="100"/>
        </p:scale>
        <p:origin x="132" y="222"/>
      </p:cViewPr>
      <p:guideLst/>
    </p:cSldViewPr>
  </p:slideViewPr>
  <p:notesTextViewPr>
    <p:cViewPr>
      <p:scale>
        <a:sx n="1" d="1"/>
        <a:sy n="1" d="1"/>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C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C1118B3-9C02-46C0-8856-2FB0B7D8D83B}" type="datetimeFigureOut">
              <a:rPr lang="fr-CA" smtClean="0"/>
              <a:t>2021-06-29</a:t>
            </a:fld>
            <a:endParaRPr lang="fr-CA"/>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C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C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C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83FD1EB-46BC-43FC-A17F-6362552A2AD4}" type="slidenum">
              <a:rPr lang="fr-CA" smtClean="0"/>
              <a:t>‹#›</a:t>
            </a:fld>
            <a:endParaRPr lang="fr-CA"/>
          </a:p>
        </p:txBody>
      </p:sp>
    </p:spTree>
    <p:extLst>
      <p:ext uri="{BB962C8B-B14F-4D97-AF65-F5344CB8AC3E}">
        <p14:creationId xmlns:p14="http://schemas.microsoft.com/office/powerpoint/2010/main" val="300348749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smtClean="0"/>
              <a:t>Bilingual </a:t>
            </a:r>
          </a:p>
          <a:p>
            <a:endParaRPr lang="en-US" dirty="0" smtClean="0"/>
          </a:p>
          <a:p>
            <a:r>
              <a:rPr lang="en-US" dirty="0" smtClean="0"/>
              <a:t>On screen at the beginning of the session</a:t>
            </a:r>
          </a:p>
          <a:p>
            <a:r>
              <a:rPr lang="en-US" dirty="0" smtClean="0"/>
              <a:t>SPEAKER: Chantal</a:t>
            </a:r>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t>4</a:t>
            </a:fld>
            <a:endParaRPr lang="en-US" dirty="0"/>
          </a:p>
        </p:txBody>
      </p:sp>
    </p:spTree>
    <p:extLst>
      <p:ext uri="{BB962C8B-B14F-4D97-AF65-F5344CB8AC3E}">
        <p14:creationId xmlns:p14="http://schemas.microsoft.com/office/powerpoint/2010/main" val="87043684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86"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xmlns=""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a16="http://schemas.microsoft.com/office/drawing/2014/main" xmlns=""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 Placeholder 10">
            <a:extLst>
              <a:ext uri="{FF2B5EF4-FFF2-40B4-BE49-F238E27FC236}">
                <a16:creationId xmlns:a16="http://schemas.microsoft.com/office/drawing/2014/main" xmlns=""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dirty="0"/>
              <a:t>Edit Master text styles</a:t>
            </a:r>
          </a:p>
        </p:txBody>
      </p:sp>
    </p:spTree>
    <p:extLst>
      <p:ext uri="{BB962C8B-B14F-4D97-AF65-F5344CB8AC3E}">
        <p14:creationId xmlns:p14="http://schemas.microsoft.com/office/powerpoint/2010/main" val="3510055500"/>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xmlns="" id="{ECB20CF7-ABEA-2C4D-BB72-60BDB752E09C}"/>
              </a:ext>
            </a:extLst>
          </p:cNvPr>
          <p:cNvSpPr>
            <a:spLocks noGrp="1"/>
          </p:cNvSpPr>
          <p:nvPr>
            <p:ph type="pic" sz="quarter" idx="13"/>
          </p:nvPr>
        </p:nvSpPr>
        <p:spPr>
          <a:xfrm>
            <a:off x="542924" y="1606538"/>
            <a:ext cx="2571751" cy="1085850"/>
          </a:xfrm>
        </p:spPr>
        <p:txBody>
          <a:bodyPr/>
          <a:lstStyle/>
          <a:p>
            <a:endParaRPr lang="en-US" dirty="0"/>
          </a:p>
        </p:txBody>
      </p:sp>
      <p:sp>
        <p:nvSpPr>
          <p:cNvPr id="17" name="Picture Placeholder 6">
            <a:extLst>
              <a:ext uri="{FF2B5EF4-FFF2-40B4-BE49-F238E27FC236}">
                <a16:creationId xmlns:a16="http://schemas.microsoft.com/office/drawing/2014/main" xmlns="" id="{AB5CA4C7-9DA8-9349-A7AE-66A5D6A6F642}"/>
              </a:ext>
            </a:extLst>
          </p:cNvPr>
          <p:cNvSpPr>
            <a:spLocks noGrp="1"/>
          </p:cNvSpPr>
          <p:nvPr>
            <p:ph type="pic" sz="quarter" idx="16"/>
          </p:nvPr>
        </p:nvSpPr>
        <p:spPr>
          <a:xfrm>
            <a:off x="3371849" y="1606538"/>
            <a:ext cx="2571751" cy="1085850"/>
          </a:xfrm>
        </p:spPr>
        <p:txBody>
          <a:bodyPr/>
          <a:lstStyle/>
          <a:p>
            <a:endParaRPr lang="en-US" dirty="0"/>
          </a:p>
        </p:txBody>
      </p:sp>
      <p:sp>
        <p:nvSpPr>
          <p:cNvPr id="20" name="Picture Placeholder 6">
            <a:extLst>
              <a:ext uri="{FF2B5EF4-FFF2-40B4-BE49-F238E27FC236}">
                <a16:creationId xmlns:a16="http://schemas.microsoft.com/office/drawing/2014/main" xmlns="" id="{0BDB9676-2139-3E4A-8902-B788AA4A1430}"/>
              </a:ext>
            </a:extLst>
          </p:cNvPr>
          <p:cNvSpPr>
            <a:spLocks noGrp="1"/>
          </p:cNvSpPr>
          <p:nvPr>
            <p:ph type="pic" sz="quarter" idx="19"/>
          </p:nvPr>
        </p:nvSpPr>
        <p:spPr>
          <a:xfrm>
            <a:off x="6243636" y="1606538"/>
            <a:ext cx="2571751" cy="1085850"/>
          </a:xfrm>
        </p:spPr>
        <p:txBody>
          <a:bodyPr/>
          <a:lstStyle/>
          <a:p>
            <a:endParaRPr lang="en-US" dirty="0"/>
          </a:p>
        </p:txBody>
      </p:sp>
      <p:sp>
        <p:nvSpPr>
          <p:cNvPr id="23" name="Picture Placeholder 6">
            <a:extLst>
              <a:ext uri="{FF2B5EF4-FFF2-40B4-BE49-F238E27FC236}">
                <a16:creationId xmlns:a16="http://schemas.microsoft.com/office/drawing/2014/main" xmlns="" id="{3AAEAB4E-EA57-5D45-ADBA-C01E02C67167}"/>
              </a:ext>
            </a:extLst>
          </p:cNvPr>
          <p:cNvSpPr>
            <a:spLocks noGrp="1"/>
          </p:cNvSpPr>
          <p:nvPr>
            <p:ph type="pic" sz="quarter" idx="22"/>
          </p:nvPr>
        </p:nvSpPr>
        <p:spPr>
          <a:xfrm>
            <a:off x="9086849" y="1606538"/>
            <a:ext cx="2438028" cy="1085850"/>
          </a:xfrm>
        </p:spPr>
        <p:txBody>
          <a:bodyPr/>
          <a:lstStyle/>
          <a:p>
            <a:endParaRPr lang="en-US" dirty="0"/>
          </a:p>
        </p:txBody>
      </p:sp>
      <p:sp>
        <p:nvSpPr>
          <p:cNvPr id="18" name="Text Placeholder 2">
            <a:extLst>
              <a:ext uri="{FF2B5EF4-FFF2-40B4-BE49-F238E27FC236}">
                <a16:creationId xmlns:a16="http://schemas.microsoft.com/office/drawing/2014/main" xmlns=""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xmlns=""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xmlns=""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xmlns=""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xmlns=""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xmlns=""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xmlns=""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xmlns=""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97970362"/>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xmlns="" id="{ECB20CF7-ABEA-2C4D-BB72-60BDB752E09C}"/>
              </a:ext>
            </a:extLst>
          </p:cNvPr>
          <p:cNvSpPr>
            <a:spLocks noGrp="1"/>
          </p:cNvSpPr>
          <p:nvPr>
            <p:ph type="pic" sz="quarter" idx="13"/>
          </p:nvPr>
        </p:nvSpPr>
        <p:spPr>
          <a:xfrm>
            <a:off x="542925" y="1606538"/>
            <a:ext cx="5430838" cy="2522550"/>
          </a:xfrm>
        </p:spPr>
        <p:txBody>
          <a:bodyPr/>
          <a:lstStyle/>
          <a:p>
            <a:endParaRPr lang="en-US" dirty="0"/>
          </a:p>
        </p:txBody>
      </p:sp>
      <p:sp>
        <p:nvSpPr>
          <p:cNvPr id="11" name="Picture Placeholder 6">
            <a:extLst>
              <a:ext uri="{FF2B5EF4-FFF2-40B4-BE49-F238E27FC236}">
                <a16:creationId xmlns:a16="http://schemas.microsoft.com/office/drawing/2014/main" xmlns="" id="{30AB767C-C8CE-A646-995D-CEACD854568B}"/>
              </a:ext>
            </a:extLst>
          </p:cNvPr>
          <p:cNvSpPr>
            <a:spLocks noGrp="1"/>
          </p:cNvSpPr>
          <p:nvPr>
            <p:ph type="pic" sz="quarter" idx="14"/>
          </p:nvPr>
        </p:nvSpPr>
        <p:spPr>
          <a:xfrm>
            <a:off x="6243638" y="1606538"/>
            <a:ext cx="5271466" cy="2522550"/>
          </a:xfrm>
        </p:spPr>
        <p:txBody>
          <a:bodyPr/>
          <a:lstStyle/>
          <a:p>
            <a:endParaRPr lang="en-US" dirty="0"/>
          </a:p>
        </p:txBody>
      </p:sp>
      <p:sp>
        <p:nvSpPr>
          <p:cNvPr id="15" name="Text Placeholder 2">
            <a:extLst>
              <a:ext uri="{FF2B5EF4-FFF2-40B4-BE49-F238E27FC236}">
                <a16:creationId xmlns:a16="http://schemas.microsoft.com/office/drawing/2014/main" xmlns=""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xmlns=""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xmlns=""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a16="http://schemas.microsoft.com/office/drawing/2014/main" xmlns=""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248538362"/>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xmlns="" id="{ECB20CF7-ABEA-2C4D-BB72-60BDB752E09C}"/>
              </a:ext>
            </a:extLst>
          </p:cNvPr>
          <p:cNvSpPr>
            <a:spLocks noGrp="1"/>
          </p:cNvSpPr>
          <p:nvPr>
            <p:ph type="pic" sz="quarter" idx="13"/>
          </p:nvPr>
        </p:nvSpPr>
        <p:spPr>
          <a:xfrm>
            <a:off x="542925" y="1606538"/>
            <a:ext cx="3495675" cy="2522550"/>
          </a:xfrm>
        </p:spPr>
        <p:txBody>
          <a:bodyPr/>
          <a:lstStyle/>
          <a:p>
            <a:endParaRPr lang="en-US" dirty="0"/>
          </a:p>
        </p:txBody>
      </p:sp>
      <p:sp>
        <p:nvSpPr>
          <p:cNvPr id="15" name="Picture Placeholder 6">
            <a:extLst>
              <a:ext uri="{FF2B5EF4-FFF2-40B4-BE49-F238E27FC236}">
                <a16:creationId xmlns:a16="http://schemas.microsoft.com/office/drawing/2014/main" xmlns="" id="{F5A1D93D-18EA-B646-9C69-64B68DA74652}"/>
              </a:ext>
            </a:extLst>
          </p:cNvPr>
          <p:cNvSpPr>
            <a:spLocks noGrp="1"/>
          </p:cNvSpPr>
          <p:nvPr>
            <p:ph type="pic" sz="quarter" idx="20"/>
          </p:nvPr>
        </p:nvSpPr>
        <p:spPr>
          <a:xfrm>
            <a:off x="4343400" y="1606538"/>
            <a:ext cx="3495675" cy="2522550"/>
          </a:xfrm>
        </p:spPr>
        <p:txBody>
          <a:bodyPr/>
          <a:lstStyle/>
          <a:p>
            <a:endParaRPr lang="en-US" dirty="0"/>
          </a:p>
        </p:txBody>
      </p:sp>
      <p:sp>
        <p:nvSpPr>
          <p:cNvPr id="18" name="Picture Placeholder 6">
            <a:extLst>
              <a:ext uri="{FF2B5EF4-FFF2-40B4-BE49-F238E27FC236}">
                <a16:creationId xmlns:a16="http://schemas.microsoft.com/office/drawing/2014/main" xmlns="" id="{B818FFBC-FCFC-9842-8A48-4D05E54A6C5A}"/>
              </a:ext>
            </a:extLst>
          </p:cNvPr>
          <p:cNvSpPr>
            <a:spLocks noGrp="1"/>
          </p:cNvSpPr>
          <p:nvPr>
            <p:ph type="pic" sz="quarter" idx="23"/>
          </p:nvPr>
        </p:nvSpPr>
        <p:spPr>
          <a:xfrm>
            <a:off x="8129589" y="1606538"/>
            <a:ext cx="3385516" cy="2522550"/>
          </a:xfrm>
        </p:spPr>
        <p:txBody>
          <a:bodyPr/>
          <a:lstStyle/>
          <a:p>
            <a:endParaRPr lang="en-US" dirty="0"/>
          </a:p>
        </p:txBody>
      </p:sp>
      <p:sp>
        <p:nvSpPr>
          <p:cNvPr id="16" name="Text Placeholder 2">
            <a:extLst>
              <a:ext uri="{FF2B5EF4-FFF2-40B4-BE49-F238E27FC236}">
                <a16:creationId xmlns:a16="http://schemas.microsoft.com/office/drawing/2014/main" xmlns=""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xmlns=""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a16="http://schemas.microsoft.com/office/drawing/2014/main" xmlns=""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xmlns=""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a16="http://schemas.microsoft.com/office/drawing/2014/main" xmlns=""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a16="http://schemas.microsoft.com/office/drawing/2014/main" xmlns=""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635969572"/>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xmlns="" id="{ECB20CF7-ABEA-2C4D-BB72-60BDB752E09C}"/>
              </a:ext>
            </a:extLst>
          </p:cNvPr>
          <p:cNvSpPr>
            <a:spLocks noGrp="1"/>
          </p:cNvSpPr>
          <p:nvPr>
            <p:ph type="pic" sz="quarter" idx="13"/>
          </p:nvPr>
        </p:nvSpPr>
        <p:spPr>
          <a:xfrm>
            <a:off x="542926" y="1606538"/>
            <a:ext cx="2571750" cy="2522550"/>
          </a:xfrm>
        </p:spPr>
        <p:txBody>
          <a:bodyPr/>
          <a:lstStyle/>
          <a:p>
            <a:endParaRPr lang="en-US" dirty="0"/>
          </a:p>
        </p:txBody>
      </p:sp>
      <p:sp>
        <p:nvSpPr>
          <p:cNvPr id="21" name="Picture Placeholder 6">
            <a:extLst>
              <a:ext uri="{FF2B5EF4-FFF2-40B4-BE49-F238E27FC236}">
                <a16:creationId xmlns:a16="http://schemas.microsoft.com/office/drawing/2014/main" xmlns="" id="{F954EBDC-0C0D-8C42-BD84-62A045BA7F66}"/>
              </a:ext>
            </a:extLst>
          </p:cNvPr>
          <p:cNvSpPr>
            <a:spLocks noGrp="1"/>
          </p:cNvSpPr>
          <p:nvPr>
            <p:ph type="pic" sz="quarter" idx="20"/>
          </p:nvPr>
        </p:nvSpPr>
        <p:spPr>
          <a:xfrm>
            <a:off x="3400426" y="1606538"/>
            <a:ext cx="2571750" cy="2522550"/>
          </a:xfrm>
        </p:spPr>
        <p:txBody>
          <a:bodyPr/>
          <a:lstStyle/>
          <a:p>
            <a:endParaRPr lang="en-US" dirty="0"/>
          </a:p>
        </p:txBody>
      </p:sp>
      <p:sp>
        <p:nvSpPr>
          <p:cNvPr id="24" name="Picture Placeholder 6">
            <a:extLst>
              <a:ext uri="{FF2B5EF4-FFF2-40B4-BE49-F238E27FC236}">
                <a16:creationId xmlns:a16="http://schemas.microsoft.com/office/drawing/2014/main" xmlns="" id="{0D95A988-ADA4-2846-979A-FD44F1A4FBEB}"/>
              </a:ext>
            </a:extLst>
          </p:cNvPr>
          <p:cNvSpPr>
            <a:spLocks noGrp="1"/>
          </p:cNvSpPr>
          <p:nvPr>
            <p:ph type="pic" sz="quarter" idx="23"/>
          </p:nvPr>
        </p:nvSpPr>
        <p:spPr>
          <a:xfrm>
            <a:off x="6243639" y="1606538"/>
            <a:ext cx="2571750" cy="2522550"/>
          </a:xfrm>
        </p:spPr>
        <p:txBody>
          <a:bodyPr/>
          <a:lstStyle/>
          <a:p>
            <a:endParaRPr lang="en-US" dirty="0"/>
          </a:p>
        </p:txBody>
      </p:sp>
      <p:sp>
        <p:nvSpPr>
          <p:cNvPr id="27" name="Picture Placeholder 6">
            <a:extLst>
              <a:ext uri="{FF2B5EF4-FFF2-40B4-BE49-F238E27FC236}">
                <a16:creationId xmlns:a16="http://schemas.microsoft.com/office/drawing/2014/main" xmlns="" id="{6839EE6C-2C09-9949-AA2C-88119F234581}"/>
              </a:ext>
            </a:extLst>
          </p:cNvPr>
          <p:cNvSpPr>
            <a:spLocks noGrp="1"/>
          </p:cNvSpPr>
          <p:nvPr>
            <p:ph type="pic" sz="quarter" idx="26"/>
          </p:nvPr>
        </p:nvSpPr>
        <p:spPr>
          <a:xfrm>
            <a:off x="9058276" y="1606538"/>
            <a:ext cx="2459757" cy="2522550"/>
          </a:xfrm>
        </p:spPr>
        <p:txBody>
          <a:bodyPr/>
          <a:lstStyle/>
          <a:p>
            <a:endParaRPr lang="en-US" dirty="0"/>
          </a:p>
        </p:txBody>
      </p:sp>
      <p:sp>
        <p:nvSpPr>
          <p:cNvPr id="18" name="Text Placeholder 2">
            <a:extLst>
              <a:ext uri="{FF2B5EF4-FFF2-40B4-BE49-F238E27FC236}">
                <a16:creationId xmlns:a16="http://schemas.microsoft.com/office/drawing/2014/main" xmlns=""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xmlns=""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xmlns=""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xmlns=""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a16="http://schemas.microsoft.com/office/drawing/2014/main" xmlns=""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xmlns=""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xmlns=""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a16="http://schemas.microsoft.com/office/drawing/2014/main" xmlns=""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287090718"/>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588145702"/>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58"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dirty="0"/>
          </a:p>
        </p:txBody>
      </p:sp>
      <p:sp>
        <p:nvSpPr>
          <p:cNvPr id="4" name="Text Placeholder 2">
            <a:extLst>
              <a:ext uri="{FF2B5EF4-FFF2-40B4-BE49-F238E27FC236}">
                <a16:creationId xmlns:a16="http://schemas.microsoft.com/office/drawing/2014/main" xmlns=""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a:t>
            </a:r>
            <a:r>
              <a:rPr lang="en-US" dirty="0" smtClean="0"/>
              <a:t>STYLES</a:t>
            </a:r>
            <a:endParaRPr lang="en-US" dirty="0"/>
          </a:p>
        </p:txBody>
      </p:sp>
      <p:sp>
        <p:nvSpPr>
          <p:cNvPr id="5"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966369012"/>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xmlns=""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a16="http://schemas.microsoft.com/office/drawing/2014/main" xmlns=""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a16="http://schemas.microsoft.com/office/drawing/2014/main" xmlns=""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196534677"/>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xmlns=""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xmlns=""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xmlns=""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817958750"/>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xmlns=""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a16="http://schemas.microsoft.com/office/drawing/2014/main" xmlns=""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a16="http://schemas.microsoft.com/office/drawing/2014/main" xmlns=""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837164880"/>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xmlns=""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xmlns=""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a16="http://schemas.microsoft.com/office/drawing/2014/main" xmlns=""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98740357"/>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xmlns=""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a16="http://schemas.microsoft.com/office/drawing/2014/main" xmlns=""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3038303255"/>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xmlns=""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xmlns=""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xmlns=""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414449695"/>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xmlns=""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xmlns=""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xmlns=""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962825739"/>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82"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xmlns=""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a16="http://schemas.microsoft.com/office/drawing/2014/main" xmlns=""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xmlns=""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70338390"/>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xmlns=""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xmlns=""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xmlns=""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7"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6969881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10"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xmlns=""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xmlns=""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xmlns=""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xmlns=""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xmlns=""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xmlns=""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xmlns=""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xmlns=""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xmlns=""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3"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59340536"/>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34"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xmlns="" id="{1C0A461C-0294-B44F-97D5-FC39D0DC404B}"/>
              </a:ext>
            </a:extLst>
          </p:cNvPr>
          <p:cNvSpPr>
            <a:spLocks noGrp="1"/>
          </p:cNvSpPr>
          <p:nvPr>
            <p:ph type="pic" sz="quarter" idx="29"/>
          </p:nvPr>
        </p:nvSpPr>
        <p:spPr>
          <a:xfrm>
            <a:off x="0" y="0"/>
            <a:ext cx="5257800" cy="6857999"/>
          </a:xfrm>
        </p:spPr>
        <p:txBody>
          <a:bodyPr/>
          <a:lstStyle/>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a:p>
        </p:txBody>
      </p:sp>
      <p:sp>
        <p:nvSpPr>
          <p:cNvPr id="2" name="Title 1">
            <a:extLst>
              <a:ext uri="{FF2B5EF4-FFF2-40B4-BE49-F238E27FC236}">
                <a16:creationId xmlns:a16="http://schemas.microsoft.com/office/drawing/2014/main" xmlns=""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xmlns=""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xmlns=""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xmlns=""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xmlns=""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xmlns=""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xmlns=""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xmlns=""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xmlns=""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782476028"/>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xmlns=""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xmlns=""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xmlns=""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xmlns=""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xmlns=""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9"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759556140"/>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xmlns=""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xmlns=""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a16="http://schemas.microsoft.com/office/drawing/2014/main" xmlns=""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875972441"/>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a16="http://schemas.microsoft.com/office/drawing/2014/main" xmlns=""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a16="http://schemas.microsoft.com/office/drawing/2014/main" xmlns=""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xmlns=""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a16="http://schemas.microsoft.com/office/drawing/2014/main" xmlns=""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a16="http://schemas.microsoft.com/office/drawing/2014/main" xmlns=""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xmlns=""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itle style</a:t>
            </a:r>
          </a:p>
        </p:txBody>
      </p:sp>
      <p:sp>
        <p:nvSpPr>
          <p:cNvPr id="10"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128469708"/>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xmlns="" id="{ECB20CF7-ABEA-2C4D-BB72-60BDB752E09C}"/>
              </a:ext>
            </a:extLst>
          </p:cNvPr>
          <p:cNvSpPr>
            <a:spLocks noGrp="1"/>
          </p:cNvSpPr>
          <p:nvPr>
            <p:ph type="pic" sz="quarter" idx="13"/>
          </p:nvPr>
        </p:nvSpPr>
        <p:spPr>
          <a:xfrm>
            <a:off x="542925" y="1606538"/>
            <a:ext cx="5400676" cy="1085850"/>
          </a:xfrm>
        </p:spPr>
        <p:txBody>
          <a:bodyPr/>
          <a:lstStyle/>
          <a:p>
            <a:endParaRPr lang="en-US" dirty="0"/>
          </a:p>
        </p:txBody>
      </p:sp>
      <p:sp>
        <p:nvSpPr>
          <p:cNvPr id="11" name="Picture Placeholder 6">
            <a:extLst>
              <a:ext uri="{FF2B5EF4-FFF2-40B4-BE49-F238E27FC236}">
                <a16:creationId xmlns:a16="http://schemas.microsoft.com/office/drawing/2014/main" xmlns="" id="{30AB767C-C8CE-A646-995D-CEACD854568B}"/>
              </a:ext>
            </a:extLst>
          </p:cNvPr>
          <p:cNvSpPr>
            <a:spLocks noGrp="1"/>
          </p:cNvSpPr>
          <p:nvPr>
            <p:ph type="pic" sz="quarter" idx="14"/>
          </p:nvPr>
        </p:nvSpPr>
        <p:spPr>
          <a:xfrm>
            <a:off x="6243638" y="1606538"/>
            <a:ext cx="5271466" cy="1085850"/>
          </a:xfrm>
        </p:spPr>
        <p:txBody>
          <a:bodyPr/>
          <a:lstStyle/>
          <a:p>
            <a:endParaRPr lang="en-US" dirty="0"/>
          </a:p>
        </p:txBody>
      </p:sp>
      <p:sp>
        <p:nvSpPr>
          <p:cNvPr id="15" name="Text Placeholder 2">
            <a:extLst>
              <a:ext uri="{FF2B5EF4-FFF2-40B4-BE49-F238E27FC236}">
                <a16:creationId xmlns:a16="http://schemas.microsoft.com/office/drawing/2014/main" xmlns=""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a16="http://schemas.microsoft.com/office/drawing/2014/main" xmlns=""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xmlns=""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a16="http://schemas.microsoft.com/office/drawing/2014/main" xmlns=""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716498309"/>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xmlns="" id="{ECB20CF7-ABEA-2C4D-BB72-60BDB752E09C}"/>
              </a:ext>
            </a:extLst>
          </p:cNvPr>
          <p:cNvSpPr>
            <a:spLocks noGrp="1"/>
          </p:cNvSpPr>
          <p:nvPr>
            <p:ph type="pic" sz="quarter" idx="13"/>
          </p:nvPr>
        </p:nvSpPr>
        <p:spPr>
          <a:xfrm>
            <a:off x="542924" y="1606538"/>
            <a:ext cx="3495675" cy="1085850"/>
          </a:xfrm>
        </p:spPr>
        <p:txBody>
          <a:bodyPr/>
          <a:lstStyle/>
          <a:p>
            <a:endParaRPr lang="en-US" dirty="0"/>
          </a:p>
        </p:txBody>
      </p:sp>
      <p:sp>
        <p:nvSpPr>
          <p:cNvPr id="11" name="Picture Placeholder 6">
            <a:extLst>
              <a:ext uri="{FF2B5EF4-FFF2-40B4-BE49-F238E27FC236}">
                <a16:creationId xmlns:a16="http://schemas.microsoft.com/office/drawing/2014/main" xmlns="" id="{30AB767C-C8CE-A646-995D-CEACD854568B}"/>
              </a:ext>
            </a:extLst>
          </p:cNvPr>
          <p:cNvSpPr>
            <a:spLocks noGrp="1"/>
          </p:cNvSpPr>
          <p:nvPr>
            <p:ph type="pic" sz="quarter" idx="14"/>
          </p:nvPr>
        </p:nvSpPr>
        <p:spPr>
          <a:xfrm>
            <a:off x="4329113" y="1606538"/>
            <a:ext cx="3529012" cy="1085850"/>
          </a:xfrm>
        </p:spPr>
        <p:txBody>
          <a:bodyPr/>
          <a:lstStyle/>
          <a:p>
            <a:endParaRPr lang="en-US" dirty="0"/>
          </a:p>
        </p:txBody>
      </p:sp>
      <p:sp>
        <p:nvSpPr>
          <p:cNvPr id="14" name="Picture Placeholder 6">
            <a:extLst>
              <a:ext uri="{FF2B5EF4-FFF2-40B4-BE49-F238E27FC236}">
                <a16:creationId xmlns:a16="http://schemas.microsoft.com/office/drawing/2014/main" xmlns="" id="{30BC5AE0-0A2C-0A47-AED3-72F396E00B93}"/>
              </a:ext>
            </a:extLst>
          </p:cNvPr>
          <p:cNvSpPr>
            <a:spLocks noGrp="1"/>
          </p:cNvSpPr>
          <p:nvPr>
            <p:ph type="pic" sz="quarter" idx="17"/>
          </p:nvPr>
        </p:nvSpPr>
        <p:spPr>
          <a:xfrm>
            <a:off x="8115301" y="1606538"/>
            <a:ext cx="3430302" cy="1085850"/>
          </a:xfrm>
        </p:spPr>
        <p:txBody>
          <a:bodyPr/>
          <a:lstStyle/>
          <a:p>
            <a:endParaRPr lang="en-US" dirty="0"/>
          </a:p>
        </p:txBody>
      </p:sp>
      <p:sp>
        <p:nvSpPr>
          <p:cNvPr id="15" name="Text Placeholder 2">
            <a:extLst>
              <a:ext uri="{FF2B5EF4-FFF2-40B4-BE49-F238E27FC236}">
                <a16:creationId xmlns:a16="http://schemas.microsoft.com/office/drawing/2014/main" xmlns=""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xmlns=""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xmlns=""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xmlns=""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xmlns=""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xmlns=""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641905016"/>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32" Type="http://schemas.openxmlformats.org/officeDocument/2006/relationships/image" Target="../media/image4.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3.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 Id="rId30"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6"/>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2" name="think-cell Slide" r:id="rId27" imgW="473" imgH="473" progId="TCLayout.ActiveDocument.1">
                  <p:embed/>
                </p:oleObj>
              </mc:Choice>
              <mc:Fallback>
                <p:oleObj name="think-cell Slide" r:id="rId27" imgW="473" imgH="473" progId="TCLayout.ActiveDocument.1">
                  <p:embed/>
                  <p:pic>
                    <p:nvPicPr>
                      <p:cNvPr id="0" name=""/>
                      <p:cNvPicPr/>
                      <p:nvPr/>
                    </p:nvPicPr>
                    <p:blipFill>
                      <a:blip r:embed="rId28"/>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xmlns=""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xmlns=""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descr="Image result for canada wordmark">
            <a:hlinkClick r:id="rId29"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30" cstate="print">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pic>
        <p:nvPicPr>
          <p:cNvPr id="8" name="Picture 7">
            <a:extLst>
              <a:ext uri="{FF2B5EF4-FFF2-40B4-BE49-F238E27FC236}">
                <a16:creationId xmlns:a16="http://schemas.microsoft.com/office/drawing/2014/main" xmlns="" id="{89CA9733-78EF-5F49-81C1-064DE89D5260}"/>
              </a:ext>
            </a:extLst>
          </p:cNvPr>
          <p:cNvPicPr>
            <a:picLocks noChangeAspect="1"/>
          </p:cNvPicPr>
          <p:nvPr userDrawn="1"/>
        </p:nvPicPr>
        <p:blipFill>
          <a:blip r:embed="rId31" cstate="print">
            <a:extLst>
              <a:ext uri="{28A0092B-C50C-407E-A947-70E740481C1C}">
                <a14:useLocalDpi xmlns:a14="http://schemas.microsoft.com/office/drawing/2010/main" val="0"/>
              </a:ext>
            </a:extLst>
          </a:blip>
          <a:stretch>
            <a:fillRect/>
          </a:stretch>
        </p:blipFill>
        <p:spPr>
          <a:xfrm>
            <a:off x="552450" y="6374859"/>
            <a:ext cx="2036645" cy="250665"/>
          </a:xfrm>
          <a:prstGeom prst="rect">
            <a:avLst/>
          </a:prstGeom>
        </p:spPr>
      </p:pic>
      <p:pic>
        <p:nvPicPr>
          <p:cNvPr id="12" name="Picture 11"/>
          <p:cNvPicPr>
            <a:picLocks noChangeAspect="1"/>
          </p:cNvPicPr>
          <p:nvPr userDrawn="1"/>
        </p:nvPicPr>
        <p:blipFill>
          <a:blip r:embed="rId32" cstate="print">
            <a:extLst>
              <a:ext uri="{28A0092B-C50C-407E-A947-70E740481C1C}">
                <a14:useLocalDpi xmlns:a14="http://schemas.microsoft.com/office/drawing/2010/main" val="0"/>
              </a:ext>
            </a:extLst>
          </a:blip>
          <a:stretch>
            <a:fillRect/>
          </a:stretch>
        </p:blipFill>
        <p:spPr>
          <a:xfrm>
            <a:off x="10355854" y="136042"/>
            <a:ext cx="1392143" cy="414819"/>
          </a:xfrm>
          <a:prstGeom prst="rect">
            <a:avLst/>
          </a:prstGeom>
        </p:spPr>
      </p:pic>
      <p:sp>
        <p:nvSpPr>
          <p:cNvPr id="5" name="TextBox 4"/>
          <p:cNvSpPr txBox="1"/>
          <p:nvPr userDrawn="1"/>
        </p:nvSpPr>
        <p:spPr>
          <a:xfrm rot="20075319">
            <a:off x="3384123" y="2321827"/>
            <a:ext cx="5428511" cy="2215991"/>
          </a:xfrm>
          <a:prstGeom prst="rect">
            <a:avLst/>
          </a:prstGeom>
          <a:noFill/>
        </p:spPr>
        <p:txBody>
          <a:bodyPr wrap="square" rtlCol="0">
            <a:spAutoFit/>
          </a:bodyPr>
          <a:lstStyle/>
          <a:p>
            <a:r>
              <a:rPr lang="fr-CA" sz="13800" smtClean="0">
                <a:solidFill>
                  <a:schemeClr val="bg2">
                    <a:lumMod val="90000"/>
                  </a:schemeClr>
                </a:solidFill>
              </a:rPr>
              <a:t>DRAFT</a:t>
            </a:r>
            <a:endParaRPr lang="en-CA" sz="13800">
              <a:solidFill>
                <a:schemeClr val="bg2">
                  <a:lumMod val="90000"/>
                </a:schemeClr>
              </a:solidFill>
            </a:endParaRPr>
          </a:p>
        </p:txBody>
      </p:sp>
    </p:spTree>
    <p:extLst>
      <p:ext uri="{BB962C8B-B14F-4D97-AF65-F5344CB8AC3E}">
        <p14:creationId xmlns:p14="http://schemas.microsoft.com/office/powerpoint/2010/main" val="644750941"/>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 id="2147483746" r:id="rId9"/>
    <p:sldLayoutId id="2147483747" r:id="rId10"/>
    <p:sldLayoutId id="2147483748" r:id="rId11"/>
    <p:sldLayoutId id="2147483749" r:id="rId12"/>
    <p:sldLayoutId id="2147483750" r:id="rId13"/>
    <p:sldLayoutId id="2147483751" r:id="rId14"/>
    <p:sldLayoutId id="2147483752" r:id="rId15"/>
    <p:sldLayoutId id="2147483753" r:id="rId16"/>
    <p:sldLayoutId id="2147483754" r:id="rId17"/>
    <p:sldLayoutId id="2147483755" r:id="rId18"/>
    <p:sldLayoutId id="2147483756" r:id="rId19"/>
    <p:sldLayoutId id="2147483757" r:id="rId20"/>
    <p:sldLayoutId id="2147483758" r:id="rId21"/>
    <p:sldLayoutId id="2147483759" r:id="rId22"/>
    <p:sldLayoutId id="2147483760" r:id="rId23"/>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2" Type="http://schemas.openxmlformats.org/officeDocument/2006/relationships/hyperlink" Target="https://gcconnex.gc.ca/file/download/78117853" TargetMode="Externa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2" Type="http://schemas.openxmlformats.org/officeDocument/2006/relationships/hyperlink" Target="https://www.gcpedia.gc.ca/wiki/GCWorkplace_Change_Management_quick_links" TargetMode="Externa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6749" y="4476200"/>
            <a:ext cx="11115674" cy="939581"/>
          </a:xfrm>
        </p:spPr>
        <p:txBody>
          <a:bodyPr>
            <a:noAutofit/>
          </a:bodyPr>
          <a:lstStyle/>
          <a:p>
            <a:r>
              <a:rPr lang="en-CA" sz="3600" dirty="0" smtClean="0">
                <a:solidFill>
                  <a:schemeClr val="tx2"/>
                </a:solidFill>
              </a:rPr>
              <a:t>First engagement activity </a:t>
            </a:r>
            <a:br>
              <a:rPr lang="en-CA" sz="3600" dirty="0" smtClean="0">
                <a:solidFill>
                  <a:schemeClr val="tx2"/>
                </a:solidFill>
              </a:rPr>
            </a:br>
            <a:r>
              <a:rPr lang="en-CA" sz="3600" dirty="0" smtClean="0">
                <a:solidFill>
                  <a:schemeClr val="tx2"/>
                </a:solidFill>
              </a:rPr>
              <a:t>with employees</a:t>
            </a:r>
            <a:endParaRPr lang="en-CA" sz="3600" dirty="0">
              <a:solidFill>
                <a:schemeClr val="tx2"/>
              </a:solidFill>
            </a:endParaRPr>
          </a:p>
        </p:txBody>
      </p:sp>
      <p:sp>
        <p:nvSpPr>
          <p:cNvPr id="11" name="Title 1"/>
          <p:cNvSpPr txBox="1">
            <a:spLocks/>
          </p:cNvSpPr>
          <p:nvPr/>
        </p:nvSpPr>
        <p:spPr>
          <a:xfrm>
            <a:off x="386749" y="4874606"/>
            <a:ext cx="11115674" cy="939581"/>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sz="4800" b="1" kern="1200">
                <a:solidFill>
                  <a:schemeClr val="tx1"/>
                </a:solidFill>
                <a:latin typeface="Arial" panose="020B0604020202020204" pitchFamily="34" charset="0"/>
                <a:ea typeface="+mj-ea"/>
                <a:cs typeface="Arial" panose="020B0604020202020204" pitchFamily="34" charset="0"/>
              </a:defRPr>
            </a:lvl1pPr>
          </a:lstStyle>
          <a:p>
            <a:r>
              <a:rPr lang="en-CA" sz="2000" smtClean="0">
                <a:solidFill>
                  <a:schemeClr val="tx2"/>
                </a:solidFill>
              </a:rPr>
              <a:t>For the workplace modernization project</a:t>
            </a:r>
            <a:endParaRPr lang="en-CA" sz="2000" dirty="0">
              <a:solidFill>
                <a:schemeClr val="tx2"/>
              </a:solidFill>
            </a:endParaRPr>
          </a:p>
        </p:txBody>
      </p:sp>
      <p:sp>
        <p:nvSpPr>
          <p:cNvPr id="6" name="Text Placeholder 5"/>
          <p:cNvSpPr>
            <a:spLocks noGrp="1"/>
          </p:cNvSpPr>
          <p:nvPr>
            <p:ph type="body" sz="quarter" idx="16"/>
          </p:nvPr>
        </p:nvSpPr>
        <p:spPr>
          <a:xfrm>
            <a:off x="260625" y="2614344"/>
            <a:ext cx="11115674" cy="1621662"/>
          </a:xfrm>
        </p:spPr>
        <p:txBody>
          <a:bodyPr/>
          <a:lstStyle/>
          <a:p>
            <a:r>
              <a:rPr lang="en-US" dirty="0" smtClean="0">
                <a:solidFill>
                  <a:srgbClr val="A8CF76"/>
                </a:solidFill>
              </a:rPr>
              <a:t>Template</a:t>
            </a:r>
            <a:endParaRPr lang="en-US" dirty="0">
              <a:solidFill>
                <a:srgbClr val="A8CF76"/>
              </a:solidFill>
            </a:endParaRPr>
          </a:p>
        </p:txBody>
      </p:sp>
      <p:pic>
        <p:nvPicPr>
          <p:cNvPr id="7" name="Picture 6" descr="GCworkplace identifyer"/>
          <p:cNvPicPr>
            <a:picLocks noChangeAspect="1"/>
          </p:cNvPicPr>
          <p:nvPr/>
        </p:nvPicPr>
        <p:blipFill rotWithShape="1">
          <a:blip r:embed="rId2">
            <a:extLst>
              <a:ext uri="{28A0092B-C50C-407E-A947-70E740481C1C}">
                <a14:useLocalDpi xmlns:a14="http://schemas.microsoft.com/office/drawing/2010/main" val="0"/>
              </a:ext>
            </a:extLst>
          </a:blip>
          <a:srcRect l="68133" t="9742"/>
          <a:stretch/>
        </p:blipFill>
        <p:spPr>
          <a:xfrm>
            <a:off x="8986684" y="865239"/>
            <a:ext cx="3205316" cy="5992761"/>
          </a:xfrm>
          <a:prstGeom prst="rect">
            <a:avLst/>
          </a:prstGeom>
        </p:spPr>
      </p:pic>
    </p:spTree>
    <p:extLst>
      <p:ext uri="{BB962C8B-B14F-4D97-AF65-F5344CB8AC3E}">
        <p14:creationId xmlns:p14="http://schemas.microsoft.com/office/powerpoint/2010/main" val="188436352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CA" dirty="0" smtClean="0"/>
              <a:t>How will you be supported during this transition?</a:t>
            </a:r>
            <a:endParaRPr lang="en-CA" dirty="0"/>
          </a:p>
        </p:txBody>
      </p:sp>
      <p:sp>
        <p:nvSpPr>
          <p:cNvPr id="6" name="Rectangle 5"/>
          <p:cNvSpPr/>
          <p:nvPr/>
        </p:nvSpPr>
        <p:spPr>
          <a:xfrm>
            <a:off x="508758" y="1385888"/>
            <a:ext cx="11006345" cy="646331"/>
          </a:xfrm>
          <a:prstGeom prst="rect">
            <a:avLst/>
          </a:prstGeom>
        </p:spPr>
        <p:txBody>
          <a:bodyPr wrap="square">
            <a:spAutoFit/>
          </a:bodyPr>
          <a:lstStyle/>
          <a:p>
            <a:r>
              <a:rPr lang="en-CA" dirty="0">
                <a:solidFill>
                  <a:schemeClr val="tx2"/>
                </a:solidFill>
              </a:rPr>
              <a:t>[Include a high level change management approach/program/strategy. Highlight some activities­. Refer to your change management </a:t>
            </a:r>
            <a:r>
              <a:rPr lang="en-CA" dirty="0" smtClean="0">
                <a:solidFill>
                  <a:schemeClr val="tx2"/>
                </a:solidFill>
              </a:rPr>
              <a:t>strategy.] </a:t>
            </a:r>
            <a:endParaRPr lang="en-CA" dirty="0">
              <a:solidFill>
                <a:schemeClr val="tx2"/>
              </a:solidFill>
            </a:endParaRPr>
          </a:p>
        </p:txBody>
      </p:sp>
      <p:sp>
        <p:nvSpPr>
          <p:cNvPr id="3" name="TextBox 2"/>
          <p:cNvSpPr txBox="1"/>
          <p:nvPr/>
        </p:nvSpPr>
        <p:spPr>
          <a:xfrm>
            <a:off x="141344" y="2629538"/>
            <a:ext cx="6126480" cy="2826306"/>
          </a:xfrm>
          <a:prstGeom prst="bracketPair">
            <a:avLst/>
          </a:prstGeom>
          <a:noFill/>
          <a:ln>
            <a:solidFill>
              <a:schemeClr val="accent5"/>
            </a:solidFill>
          </a:ln>
        </p:spPr>
        <p:txBody>
          <a:bodyPr wrap="square" rtlCol="0">
            <a:spAutoFit/>
          </a:bodyPr>
          <a:lstStyle/>
          <a:p>
            <a:r>
              <a:rPr lang="en-CA" sz="1600" i="1" dirty="0" smtClean="0"/>
              <a:t>Provide examples:</a:t>
            </a:r>
          </a:p>
          <a:p>
            <a:endParaRPr lang="en-CA" sz="1600" i="1" dirty="0" smtClean="0"/>
          </a:p>
          <a:p>
            <a:r>
              <a:rPr lang="en-CA" sz="1600" i="1" dirty="0" smtClean="0"/>
              <a:t>Explain what we expect from employees: to participate, rethink processes, ways of doing things, take time to learn new ways of working, new IT tools and new processes, etc.</a:t>
            </a:r>
          </a:p>
          <a:p>
            <a:endParaRPr lang="en-CA" sz="1600" i="1" dirty="0" smtClean="0"/>
          </a:p>
          <a:p>
            <a:r>
              <a:rPr lang="en-CA" sz="1600" i="1" dirty="0" smtClean="0"/>
              <a:t>Explain that in order </a:t>
            </a:r>
            <a:r>
              <a:rPr lang="en-CA" sz="1600" i="1" dirty="0"/>
              <a:t>t</a:t>
            </a:r>
            <a:r>
              <a:rPr lang="en-CA" sz="1600" i="1" dirty="0" smtClean="0"/>
              <a:t>o ensure great employee experience, there will be various activities that will provide the employees with the knowledge and abilities they need to adopt the new modernized workplace.</a:t>
            </a:r>
          </a:p>
        </p:txBody>
      </p:sp>
      <p:pic>
        <p:nvPicPr>
          <p:cNvPr id="4" name="Picture 3" descr="Change management timeline example"/>
          <p:cNvPicPr>
            <a:picLocks noChangeAspect="1"/>
          </p:cNvPicPr>
          <p:nvPr/>
        </p:nvPicPr>
        <p:blipFill>
          <a:blip r:embed="rId2"/>
          <a:stretch>
            <a:fillRect/>
          </a:stretch>
        </p:blipFill>
        <p:spPr>
          <a:xfrm>
            <a:off x="6377194" y="2306127"/>
            <a:ext cx="5626929" cy="3200711"/>
          </a:xfrm>
          <a:prstGeom prst="rect">
            <a:avLst/>
          </a:prstGeom>
        </p:spPr>
      </p:pic>
      <p:sp>
        <p:nvSpPr>
          <p:cNvPr id="5" name="TextBox 4"/>
          <p:cNvSpPr txBox="1"/>
          <p:nvPr/>
        </p:nvSpPr>
        <p:spPr>
          <a:xfrm rot="20093593">
            <a:off x="7722752" y="3549051"/>
            <a:ext cx="2532426" cy="369332"/>
          </a:xfrm>
          <a:prstGeom prst="rect">
            <a:avLst/>
          </a:prstGeom>
          <a:solidFill>
            <a:srgbClr val="FFC000"/>
          </a:solidFill>
        </p:spPr>
        <p:txBody>
          <a:bodyPr wrap="square" rtlCol="0">
            <a:spAutoFit/>
          </a:bodyPr>
          <a:lstStyle/>
          <a:p>
            <a:pPr algn="ctr"/>
            <a:r>
              <a:rPr lang="fr-CA" b="1" dirty="0" smtClean="0">
                <a:solidFill>
                  <a:srgbClr val="000000"/>
                </a:solidFill>
              </a:rPr>
              <a:t>EXAMPLE</a:t>
            </a:r>
            <a:endParaRPr lang="fr-CA" b="1" dirty="0">
              <a:solidFill>
                <a:srgbClr val="000000"/>
              </a:solidFill>
            </a:endParaRPr>
          </a:p>
        </p:txBody>
      </p:sp>
    </p:spTree>
    <p:extLst>
      <p:ext uri="{BB962C8B-B14F-4D97-AF65-F5344CB8AC3E}">
        <p14:creationId xmlns:p14="http://schemas.microsoft.com/office/powerpoint/2010/main" val="121132448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How can you participate?</a:t>
            </a:r>
            <a:endParaRPr lang="en-CA" dirty="0"/>
          </a:p>
        </p:txBody>
      </p:sp>
      <p:sp>
        <p:nvSpPr>
          <p:cNvPr id="4" name="Double Bracket 3"/>
          <p:cNvSpPr/>
          <p:nvPr/>
        </p:nvSpPr>
        <p:spPr>
          <a:xfrm>
            <a:off x="508758" y="1645759"/>
            <a:ext cx="11006345" cy="1940957"/>
          </a:xfrm>
          <a:prstGeom prst="bracketPair">
            <a:avLst/>
          </a:prstGeom>
          <a:ln>
            <a:solidFill>
              <a:schemeClr val="accent5"/>
            </a:solidFill>
          </a:ln>
        </p:spPr>
        <p:txBody>
          <a:bodyPr wrap="square">
            <a:spAutoFit/>
          </a:bodyPr>
          <a:lstStyle/>
          <a:p>
            <a:pPr marL="0" lvl="4"/>
            <a:r>
              <a:rPr lang="en-CA" i="1" dirty="0" smtClean="0"/>
              <a:t>Provide examples of areas in which employees will be asked to participate, to play a role, to be an ambassador, etc.  </a:t>
            </a:r>
          </a:p>
          <a:p>
            <a:pPr marL="0" lvl="4"/>
            <a:r>
              <a:rPr lang="en-CA" i="1" dirty="0" smtClean="0"/>
              <a:t>Refer to your change management strategy. Examples:</a:t>
            </a:r>
          </a:p>
          <a:p>
            <a:pPr marL="901700" lvl="4" indent="-285750">
              <a:buFont typeface="Wingdings" panose="05000000000000000000" pitchFamily="2" charset="2"/>
              <a:buChar char="§"/>
            </a:pPr>
            <a:r>
              <a:rPr lang="en-CA" i="1" dirty="0" smtClean="0"/>
              <a:t>Employee committees </a:t>
            </a:r>
          </a:p>
          <a:p>
            <a:pPr marL="901700" lvl="4" indent="-285750">
              <a:buFont typeface="Wingdings" panose="05000000000000000000" pitchFamily="2" charset="2"/>
              <a:buChar char="§"/>
            </a:pPr>
            <a:r>
              <a:rPr lang="en-CA" i="1" dirty="0" smtClean="0"/>
              <a:t>Employee involvement activities (selection of artwork, room naming, etc.)</a:t>
            </a:r>
          </a:p>
          <a:p>
            <a:pPr marL="901700" lvl="4" indent="-285750">
              <a:buFont typeface="Wingdings" panose="05000000000000000000" pitchFamily="2" charset="2"/>
              <a:buChar char="§"/>
            </a:pPr>
            <a:r>
              <a:rPr lang="en-CA" i="1" dirty="0" smtClean="0"/>
              <a:t>Paper clean-up activity</a:t>
            </a:r>
          </a:p>
          <a:p>
            <a:pPr marL="901700" lvl="4" indent="-285750">
              <a:buFont typeface="Wingdings" panose="05000000000000000000" pitchFamily="2" charset="2"/>
              <a:buChar char="§"/>
            </a:pPr>
            <a:r>
              <a:rPr lang="en-CA" i="1" dirty="0" smtClean="0"/>
              <a:t>Etc.</a:t>
            </a:r>
          </a:p>
        </p:txBody>
      </p:sp>
    </p:spTree>
    <p:extLst>
      <p:ext uri="{BB962C8B-B14F-4D97-AF65-F5344CB8AC3E}">
        <p14:creationId xmlns:p14="http://schemas.microsoft.com/office/powerpoint/2010/main" val="56537324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Next steps</a:t>
            </a:r>
            <a:endParaRPr lang="en-CA" dirty="0"/>
          </a:p>
        </p:txBody>
      </p:sp>
      <p:sp>
        <p:nvSpPr>
          <p:cNvPr id="4" name="Rectangle 3"/>
          <p:cNvSpPr/>
          <p:nvPr/>
        </p:nvSpPr>
        <p:spPr>
          <a:xfrm>
            <a:off x="508759" y="1697512"/>
            <a:ext cx="2817438" cy="369332"/>
          </a:xfrm>
          <a:prstGeom prst="rect">
            <a:avLst/>
          </a:prstGeom>
        </p:spPr>
        <p:txBody>
          <a:bodyPr wrap="none">
            <a:spAutoFit/>
          </a:bodyPr>
          <a:lstStyle/>
          <a:p>
            <a:r>
              <a:rPr lang="en-CA" dirty="0" smtClean="0">
                <a:solidFill>
                  <a:schemeClr val="tx2"/>
                </a:solidFill>
                <a:cs typeface="Arial" pitchFamily="34" charset="0"/>
              </a:rPr>
              <a:t>[Can include the following:­] </a:t>
            </a:r>
            <a:endParaRPr lang="fr-CA" dirty="0">
              <a:solidFill>
                <a:schemeClr val="tx2"/>
              </a:solidFill>
            </a:endParaRPr>
          </a:p>
        </p:txBody>
      </p:sp>
      <p:sp>
        <p:nvSpPr>
          <p:cNvPr id="3" name="TextBox 2"/>
          <p:cNvSpPr txBox="1"/>
          <p:nvPr/>
        </p:nvSpPr>
        <p:spPr>
          <a:xfrm>
            <a:off x="536354" y="2706172"/>
            <a:ext cx="6112933" cy="1464231"/>
          </a:xfrm>
          <a:prstGeom prst="bracketPair">
            <a:avLst/>
          </a:prstGeom>
          <a:noFill/>
          <a:ln>
            <a:solidFill>
              <a:schemeClr val="accent5"/>
            </a:solidFill>
          </a:ln>
        </p:spPr>
        <p:txBody>
          <a:bodyPr wrap="square" rtlCol="0">
            <a:spAutoFit/>
          </a:bodyPr>
          <a:lstStyle/>
          <a:p>
            <a:pPr marL="285750" indent="-285750">
              <a:buFont typeface="Arial" panose="020B0604020202020204" pitchFamily="34" charset="0"/>
              <a:buChar char="•"/>
            </a:pPr>
            <a:r>
              <a:rPr lang="en-CA" sz="1600" i="1" dirty="0" smtClean="0">
                <a:solidFill>
                  <a:srgbClr val="000000"/>
                </a:solidFill>
              </a:rPr>
              <a:t>Next project steps (define what the next steps are)</a:t>
            </a:r>
          </a:p>
          <a:p>
            <a:pPr marL="285750" indent="-285750">
              <a:buFont typeface="Arial" panose="020B0604020202020204" pitchFamily="34" charset="0"/>
              <a:buChar char="•"/>
            </a:pPr>
            <a:r>
              <a:rPr lang="en-CA" sz="1600" i="1" dirty="0" smtClean="0">
                <a:solidFill>
                  <a:srgbClr val="000000"/>
                </a:solidFill>
              </a:rPr>
              <a:t>What to expect in terms of engagement activities</a:t>
            </a:r>
            <a:r>
              <a:rPr lang="en-CA" sz="1600" i="1" dirty="0"/>
              <a:t>―</a:t>
            </a:r>
            <a:r>
              <a:rPr lang="en-CA" sz="1600" i="1" dirty="0" smtClean="0">
                <a:solidFill>
                  <a:srgbClr val="000000"/>
                </a:solidFill>
              </a:rPr>
              <a:t>when the next employee engagement session will be </a:t>
            </a:r>
          </a:p>
          <a:p>
            <a:pPr marL="285750" indent="-285750">
              <a:buFont typeface="Arial" panose="020B0604020202020204" pitchFamily="34" charset="0"/>
              <a:buChar char="•"/>
            </a:pPr>
            <a:r>
              <a:rPr lang="en-CA" sz="1600" i="1" dirty="0" smtClean="0">
                <a:solidFill>
                  <a:srgbClr val="000000"/>
                </a:solidFill>
              </a:rPr>
              <a:t>Lookout for more information on intranet</a:t>
            </a:r>
          </a:p>
          <a:p>
            <a:pPr marL="285750" indent="-285750">
              <a:buFont typeface="Arial" panose="020B0604020202020204" pitchFamily="34" charset="0"/>
              <a:buChar char="•"/>
            </a:pPr>
            <a:r>
              <a:rPr lang="en-CA" sz="1600" i="1" dirty="0" smtClean="0">
                <a:solidFill>
                  <a:srgbClr val="000000"/>
                </a:solidFill>
              </a:rPr>
              <a:t>Other</a:t>
            </a:r>
          </a:p>
        </p:txBody>
      </p:sp>
      <p:sp>
        <p:nvSpPr>
          <p:cNvPr id="5" name="TextBox 4"/>
          <p:cNvSpPr txBox="1"/>
          <p:nvPr/>
        </p:nvSpPr>
        <p:spPr>
          <a:xfrm>
            <a:off x="7718416" y="3170712"/>
            <a:ext cx="4172608" cy="2962513"/>
          </a:xfrm>
          <a:prstGeom prst="roundRect">
            <a:avLst/>
          </a:prstGeom>
          <a:solidFill>
            <a:srgbClr val="FFC000"/>
          </a:solidFill>
        </p:spPr>
        <p:txBody>
          <a:bodyPr wrap="square" rtlCol="0">
            <a:spAutoFit/>
          </a:bodyPr>
          <a:lstStyle/>
          <a:p>
            <a:pPr algn="ctr"/>
            <a:r>
              <a:rPr lang="en-CA" sz="1400" b="1" dirty="0" smtClean="0">
                <a:solidFill>
                  <a:schemeClr val="tx2"/>
                </a:solidFill>
              </a:rPr>
              <a:t>Recommendations</a:t>
            </a:r>
          </a:p>
          <a:p>
            <a:pPr algn="ctr"/>
            <a:endParaRPr lang="en-CA" sz="1400" b="1" dirty="0" smtClean="0">
              <a:solidFill>
                <a:schemeClr val="tx2"/>
              </a:solidFill>
            </a:endParaRPr>
          </a:p>
          <a:p>
            <a:pPr marL="285750" indent="-285750">
              <a:buFont typeface="Arial" panose="020B0604020202020204" pitchFamily="34" charset="0"/>
              <a:buChar char="•"/>
            </a:pPr>
            <a:r>
              <a:rPr lang="en-CA" sz="1400" dirty="0" smtClean="0">
                <a:solidFill>
                  <a:schemeClr val="tx2"/>
                </a:solidFill>
              </a:rPr>
              <a:t>Have all of the shared information during this session available right after the session ends; either on a shared space or on an intranet page. </a:t>
            </a:r>
          </a:p>
          <a:p>
            <a:pPr marL="285750" indent="-285750">
              <a:buFont typeface="Arial" panose="020B0604020202020204" pitchFamily="34" charset="0"/>
              <a:buChar char="•"/>
            </a:pPr>
            <a:r>
              <a:rPr lang="en-CA" sz="1400" dirty="0" smtClean="0">
                <a:solidFill>
                  <a:schemeClr val="tx2"/>
                </a:solidFill>
              </a:rPr>
              <a:t>Provide key messages and high level project information to all managers so they can be well-equipped to answer questions that their employees might have. See attached example (ambassador toolkit). </a:t>
            </a:r>
            <a:r>
              <a:rPr lang="en-CA" sz="1400" dirty="0" smtClean="0">
                <a:solidFill>
                  <a:schemeClr val="tx2"/>
                </a:solidFill>
                <a:hlinkClick r:id="rId2"/>
              </a:rPr>
              <a:t>Download ambassador toolkit on </a:t>
            </a:r>
            <a:r>
              <a:rPr lang="en-CA" sz="1400" dirty="0" err="1" smtClean="0">
                <a:solidFill>
                  <a:schemeClr val="tx2"/>
                </a:solidFill>
                <a:hlinkClick r:id="rId2"/>
              </a:rPr>
              <a:t>GCconnex</a:t>
            </a:r>
            <a:endParaRPr lang="en-CA" sz="1400" dirty="0" smtClean="0">
              <a:solidFill>
                <a:schemeClr val="tx2"/>
              </a:solidFill>
            </a:endParaRPr>
          </a:p>
        </p:txBody>
      </p:sp>
      <p:sp>
        <p:nvSpPr>
          <p:cNvPr id="6" name="Freeform 5" descr="LightBulb Icon"/>
          <p:cNvSpPr>
            <a:spLocks noEditPoints="1"/>
          </p:cNvSpPr>
          <p:nvPr/>
        </p:nvSpPr>
        <p:spPr bwMode="auto">
          <a:xfrm rot="20843298">
            <a:off x="8822951" y="3228811"/>
            <a:ext cx="312771" cy="418948"/>
          </a:xfrm>
          <a:custGeom>
            <a:avLst/>
            <a:gdLst>
              <a:gd name="T0" fmla="*/ 377 w 448"/>
              <a:gd name="T1" fmla="*/ 53 h 671"/>
              <a:gd name="T2" fmla="*/ 224 w 448"/>
              <a:gd name="T3" fmla="*/ 0 h 671"/>
              <a:gd name="T4" fmla="*/ 71 w 448"/>
              <a:gd name="T5" fmla="*/ 53 h 671"/>
              <a:gd name="T6" fmla="*/ 0 w 448"/>
              <a:gd name="T7" fmla="*/ 196 h 671"/>
              <a:gd name="T8" fmla="*/ 78 w 448"/>
              <a:gd name="T9" fmla="*/ 351 h 671"/>
              <a:gd name="T10" fmla="*/ 119 w 448"/>
              <a:gd name="T11" fmla="*/ 440 h 671"/>
              <a:gd name="T12" fmla="*/ 109 w 448"/>
              <a:gd name="T13" fmla="*/ 503 h 671"/>
              <a:gd name="T14" fmla="*/ 118 w 448"/>
              <a:gd name="T15" fmla="*/ 567 h 671"/>
              <a:gd name="T16" fmla="*/ 126 w 448"/>
              <a:gd name="T17" fmla="*/ 618 h 671"/>
              <a:gd name="T18" fmla="*/ 186 w 448"/>
              <a:gd name="T19" fmla="*/ 660 h 671"/>
              <a:gd name="T20" fmla="*/ 262 w 448"/>
              <a:gd name="T21" fmla="*/ 660 h 671"/>
              <a:gd name="T22" fmla="*/ 322 w 448"/>
              <a:gd name="T23" fmla="*/ 618 h 671"/>
              <a:gd name="T24" fmla="*/ 330 w 448"/>
              <a:gd name="T25" fmla="*/ 567 h 671"/>
              <a:gd name="T26" fmla="*/ 339 w 448"/>
              <a:gd name="T27" fmla="*/ 503 h 671"/>
              <a:gd name="T28" fmla="*/ 329 w 448"/>
              <a:gd name="T29" fmla="*/ 440 h 671"/>
              <a:gd name="T30" fmla="*/ 370 w 448"/>
              <a:gd name="T31" fmla="*/ 351 h 671"/>
              <a:gd name="T32" fmla="*/ 448 w 448"/>
              <a:gd name="T33" fmla="*/ 196 h 671"/>
              <a:gd name="T34" fmla="*/ 362 w 448"/>
              <a:gd name="T35" fmla="*/ 274 h 671"/>
              <a:gd name="T36" fmla="*/ 336 w 448"/>
              <a:gd name="T37" fmla="*/ 303 h 671"/>
              <a:gd name="T38" fmla="*/ 174 w 448"/>
              <a:gd name="T39" fmla="*/ 433 h 671"/>
              <a:gd name="T40" fmla="*/ 99 w 448"/>
              <a:gd name="T41" fmla="*/ 289 h 671"/>
              <a:gd name="T42" fmla="*/ 56 w 448"/>
              <a:gd name="T43" fmla="*/ 196 h 671"/>
              <a:gd name="T44" fmla="*/ 111 w 448"/>
              <a:gd name="T45" fmla="*/ 93 h 671"/>
              <a:gd name="T46" fmla="*/ 224 w 448"/>
              <a:gd name="T47" fmla="*/ 56 h 671"/>
              <a:gd name="T48" fmla="*/ 338 w 448"/>
              <a:gd name="T49" fmla="*/ 93 h 671"/>
              <a:gd name="T50" fmla="*/ 392 w 448"/>
              <a:gd name="T51" fmla="*/ 196 h 671"/>
              <a:gd name="T52" fmla="*/ 306 w 448"/>
              <a:gd name="T53" fmla="*/ 156 h 671"/>
              <a:gd name="T54" fmla="*/ 224 w 448"/>
              <a:gd name="T55" fmla="*/ 126 h 671"/>
              <a:gd name="T56" fmla="*/ 210 w 448"/>
              <a:gd name="T57" fmla="*/ 139 h 671"/>
              <a:gd name="T58" fmla="*/ 224 w 448"/>
              <a:gd name="T59" fmla="*/ 154 h 671"/>
              <a:gd name="T60" fmla="*/ 294 w 448"/>
              <a:gd name="T61" fmla="*/ 196 h 671"/>
              <a:gd name="T62" fmla="*/ 308 w 448"/>
              <a:gd name="T63" fmla="*/ 210 h 671"/>
              <a:gd name="T64" fmla="*/ 322 w 448"/>
              <a:gd name="T65" fmla="*/ 196 h 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48" h="671">
                <a:moveTo>
                  <a:pt x="429" y="115"/>
                </a:moveTo>
                <a:cubicBezTo>
                  <a:pt x="416" y="90"/>
                  <a:pt x="398" y="69"/>
                  <a:pt x="377" y="53"/>
                </a:cubicBezTo>
                <a:cubicBezTo>
                  <a:pt x="356" y="36"/>
                  <a:pt x="332" y="23"/>
                  <a:pt x="306" y="14"/>
                </a:cubicBezTo>
                <a:cubicBezTo>
                  <a:pt x="279" y="4"/>
                  <a:pt x="252" y="0"/>
                  <a:pt x="224" y="0"/>
                </a:cubicBezTo>
                <a:cubicBezTo>
                  <a:pt x="196" y="0"/>
                  <a:pt x="169" y="4"/>
                  <a:pt x="142" y="14"/>
                </a:cubicBezTo>
                <a:cubicBezTo>
                  <a:pt x="116" y="23"/>
                  <a:pt x="92" y="36"/>
                  <a:pt x="71" y="53"/>
                </a:cubicBezTo>
                <a:cubicBezTo>
                  <a:pt x="50" y="69"/>
                  <a:pt x="32" y="90"/>
                  <a:pt x="20" y="115"/>
                </a:cubicBezTo>
                <a:cubicBezTo>
                  <a:pt x="7" y="140"/>
                  <a:pt x="0" y="167"/>
                  <a:pt x="0" y="196"/>
                </a:cubicBezTo>
                <a:cubicBezTo>
                  <a:pt x="0" y="241"/>
                  <a:pt x="15" y="280"/>
                  <a:pt x="45" y="313"/>
                </a:cubicBezTo>
                <a:cubicBezTo>
                  <a:pt x="58" y="327"/>
                  <a:pt x="69" y="340"/>
                  <a:pt x="78" y="351"/>
                </a:cubicBezTo>
                <a:cubicBezTo>
                  <a:pt x="86" y="362"/>
                  <a:pt x="95" y="376"/>
                  <a:pt x="104" y="393"/>
                </a:cubicBezTo>
                <a:cubicBezTo>
                  <a:pt x="112" y="409"/>
                  <a:pt x="117" y="425"/>
                  <a:pt x="119" y="440"/>
                </a:cubicBezTo>
                <a:cubicBezTo>
                  <a:pt x="105" y="448"/>
                  <a:pt x="98" y="460"/>
                  <a:pt x="98" y="475"/>
                </a:cubicBezTo>
                <a:cubicBezTo>
                  <a:pt x="98" y="486"/>
                  <a:pt x="102" y="496"/>
                  <a:pt x="109" y="503"/>
                </a:cubicBezTo>
                <a:cubicBezTo>
                  <a:pt x="102" y="511"/>
                  <a:pt x="98" y="521"/>
                  <a:pt x="98" y="531"/>
                </a:cubicBezTo>
                <a:cubicBezTo>
                  <a:pt x="98" y="547"/>
                  <a:pt x="105" y="558"/>
                  <a:pt x="118" y="567"/>
                </a:cubicBezTo>
                <a:cubicBezTo>
                  <a:pt x="114" y="574"/>
                  <a:pt x="112" y="580"/>
                  <a:pt x="112" y="587"/>
                </a:cubicBezTo>
                <a:cubicBezTo>
                  <a:pt x="112" y="601"/>
                  <a:pt x="117" y="611"/>
                  <a:pt x="126" y="618"/>
                </a:cubicBezTo>
                <a:cubicBezTo>
                  <a:pt x="135" y="626"/>
                  <a:pt x="146" y="629"/>
                  <a:pt x="160" y="629"/>
                </a:cubicBezTo>
                <a:cubicBezTo>
                  <a:pt x="166" y="642"/>
                  <a:pt x="174" y="652"/>
                  <a:pt x="186" y="660"/>
                </a:cubicBezTo>
                <a:cubicBezTo>
                  <a:pt x="198" y="668"/>
                  <a:pt x="210" y="671"/>
                  <a:pt x="224" y="671"/>
                </a:cubicBezTo>
                <a:cubicBezTo>
                  <a:pt x="238" y="671"/>
                  <a:pt x="250" y="668"/>
                  <a:pt x="262" y="660"/>
                </a:cubicBezTo>
                <a:cubicBezTo>
                  <a:pt x="274" y="652"/>
                  <a:pt x="283" y="642"/>
                  <a:pt x="288" y="629"/>
                </a:cubicBezTo>
                <a:cubicBezTo>
                  <a:pt x="302" y="629"/>
                  <a:pt x="313" y="626"/>
                  <a:pt x="322" y="618"/>
                </a:cubicBezTo>
                <a:cubicBezTo>
                  <a:pt x="331" y="611"/>
                  <a:pt x="336" y="601"/>
                  <a:pt x="336" y="587"/>
                </a:cubicBezTo>
                <a:cubicBezTo>
                  <a:pt x="336" y="580"/>
                  <a:pt x="334" y="574"/>
                  <a:pt x="330" y="567"/>
                </a:cubicBezTo>
                <a:cubicBezTo>
                  <a:pt x="343" y="558"/>
                  <a:pt x="350" y="547"/>
                  <a:pt x="350" y="531"/>
                </a:cubicBezTo>
                <a:cubicBezTo>
                  <a:pt x="350" y="521"/>
                  <a:pt x="346" y="511"/>
                  <a:pt x="339" y="503"/>
                </a:cubicBezTo>
                <a:cubicBezTo>
                  <a:pt x="346" y="496"/>
                  <a:pt x="350" y="486"/>
                  <a:pt x="350" y="475"/>
                </a:cubicBezTo>
                <a:cubicBezTo>
                  <a:pt x="350" y="460"/>
                  <a:pt x="343" y="448"/>
                  <a:pt x="329" y="440"/>
                </a:cubicBezTo>
                <a:cubicBezTo>
                  <a:pt x="331" y="425"/>
                  <a:pt x="336" y="409"/>
                  <a:pt x="344" y="393"/>
                </a:cubicBezTo>
                <a:cubicBezTo>
                  <a:pt x="353" y="376"/>
                  <a:pt x="362" y="362"/>
                  <a:pt x="370" y="351"/>
                </a:cubicBezTo>
                <a:cubicBezTo>
                  <a:pt x="379" y="340"/>
                  <a:pt x="390" y="327"/>
                  <a:pt x="403" y="313"/>
                </a:cubicBezTo>
                <a:cubicBezTo>
                  <a:pt x="433" y="280"/>
                  <a:pt x="448" y="241"/>
                  <a:pt x="448" y="196"/>
                </a:cubicBezTo>
                <a:cubicBezTo>
                  <a:pt x="448" y="167"/>
                  <a:pt x="442" y="140"/>
                  <a:pt x="429" y="115"/>
                </a:cubicBezTo>
                <a:close/>
                <a:moveTo>
                  <a:pt x="362" y="274"/>
                </a:moveTo>
                <a:cubicBezTo>
                  <a:pt x="359" y="278"/>
                  <a:pt x="355" y="282"/>
                  <a:pt x="349" y="289"/>
                </a:cubicBezTo>
                <a:cubicBezTo>
                  <a:pt x="343" y="295"/>
                  <a:pt x="338" y="300"/>
                  <a:pt x="336" y="303"/>
                </a:cubicBezTo>
                <a:cubicBezTo>
                  <a:pt x="298" y="348"/>
                  <a:pt x="278" y="391"/>
                  <a:pt x="274" y="433"/>
                </a:cubicBezTo>
                <a:cubicBezTo>
                  <a:pt x="174" y="433"/>
                  <a:pt x="174" y="433"/>
                  <a:pt x="174" y="433"/>
                </a:cubicBezTo>
                <a:cubicBezTo>
                  <a:pt x="170" y="391"/>
                  <a:pt x="150" y="348"/>
                  <a:pt x="112" y="303"/>
                </a:cubicBezTo>
                <a:cubicBezTo>
                  <a:pt x="110" y="300"/>
                  <a:pt x="105" y="295"/>
                  <a:pt x="99" y="289"/>
                </a:cubicBezTo>
                <a:cubicBezTo>
                  <a:pt x="93" y="282"/>
                  <a:pt x="89" y="278"/>
                  <a:pt x="86" y="274"/>
                </a:cubicBezTo>
                <a:cubicBezTo>
                  <a:pt x="66" y="251"/>
                  <a:pt x="56" y="225"/>
                  <a:pt x="56" y="196"/>
                </a:cubicBezTo>
                <a:cubicBezTo>
                  <a:pt x="56" y="175"/>
                  <a:pt x="61" y="155"/>
                  <a:pt x="71" y="137"/>
                </a:cubicBezTo>
                <a:cubicBezTo>
                  <a:pt x="81" y="119"/>
                  <a:pt x="94" y="104"/>
                  <a:pt x="111" y="93"/>
                </a:cubicBezTo>
                <a:cubicBezTo>
                  <a:pt x="127" y="81"/>
                  <a:pt x="145" y="72"/>
                  <a:pt x="164" y="65"/>
                </a:cubicBezTo>
                <a:cubicBezTo>
                  <a:pt x="184" y="59"/>
                  <a:pt x="204" y="56"/>
                  <a:pt x="224" y="56"/>
                </a:cubicBezTo>
                <a:cubicBezTo>
                  <a:pt x="244" y="56"/>
                  <a:pt x="264" y="59"/>
                  <a:pt x="284" y="65"/>
                </a:cubicBezTo>
                <a:cubicBezTo>
                  <a:pt x="303" y="72"/>
                  <a:pt x="321" y="81"/>
                  <a:pt x="338" y="93"/>
                </a:cubicBezTo>
                <a:cubicBezTo>
                  <a:pt x="354" y="104"/>
                  <a:pt x="367" y="119"/>
                  <a:pt x="377" y="137"/>
                </a:cubicBezTo>
                <a:cubicBezTo>
                  <a:pt x="387" y="155"/>
                  <a:pt x="392" y="175"/>
                  <a:pt x="392" y="196"/>
                </a:cubicBezTo>
                <a:cubicBezTo>
                  <a:pt x="392" y="225"/>
                  <a:pt x="382" y="251"/>
                  <a:pt x="362" y="274"/>
                </a:cubicBezTo>
                <a:close/>
                <a:moveTo>
                  <a:pt x="306" y="156"/>
                </a:moveTo>
                <a:cubicBezTo>
                  <a:pt x="295" y="145"/>
                  <a:pt x="282" y="137"/>
                  <a:pt x="268" y="133"/>
                </a:cubicBezTo>
                <a:cubicBezTo>
                  <a:pt x="253" y="128"/>
                  <a:pt x="239" y="126"/>
                  <a:pt x="224" y="126"/>
                </a:cubicBezTo>
                <a:cubicBezTo>
                  <a:pt x="214" y="130"/>
                  <a:pt x="214" y="130"/>
                  <a:pt x="214" y="130"/>
                </a:cubicBezTo>
                <a:cubicBezTo>
                  <a:pt x="210" y="139"/>
                  <a:pt x="210" y="139"/>
                  <a:pt x="210" y="139"/>
                </a:cubicBezTo>
                <a:cubicBezTo>
                  <a:pt x="214" y="149"/>
                  <a:pt x="214" y="149"/>
                  <a:pt x="214" y="149"/>
                </a:cubicBezTo>
                <a:cubicBezTo>
                  <a:pt x="224" y="154"/>
                  <a:pt x="224" y="154"/>
                  <a:pt x="224" y="154"/>
                </a:cubicBezTo>
                <a:cubicBezTo>
                  <a:pt x="239" y="154"/>
                  <a:pt x="255" y="157"/>
                  <a:pt x="270" y="164"/>
                </a:cubicBezTo>
                <a:cubicBezTo>
                  <a:pt x="286" y="172"/>
                  <a:pt x="294" y="182"/>
                  <a:pt x="294" y="196"/>
                </a:cubicBezTo>
                <a:cubicBezTo>
                  <a:pt x="298" y="205"/>
                  <a:pt x="298" y="205"/>
                  <a:pt x="298" y="205"/>
                </a:cubicBezTo>
                <a:cubicBezTo>
                  <a:pt x="308" y="210"/>
                  <a:pt x="308" y="210"/>
                  <a:pt x="308" y="210"/>
                </a:cubicBezTo>
                <a:cubicBezTo>
                  <a:pt x="318" y="205"/>
                  <a:pt x="318" y="205"/>
                  <a:pt x="318" y="205"/>
                </a:cubicBezTo>
                <a:cubicBezTo>
                  <a:pt x="322" y="196"/>
                  <a:pt x="322" y="196"/>
                  <a:pt x="322" y="196"/>
                </a:cubicBezTo>
                <a:cubicBezTo>
                  <a:pt x="322" y="180"/>
                  <a:pt x="317" y="167"/>
                  <a:pt x="306" y="156"/>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Tree>
    <p:extLst>
      <p:ext uri="{BB962C8B-B14F-4D97-AF65-F5344CB8AC3E}">
        <p14:creationId xmlns:p14="http://schemas.microsoft.com/office/powerpoint/2010/main" val="233733333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Q&amp;A</a:t>
            </a:r>
            <a:endParaRPr lang="en-CA" dirty="0"/>
          </a:p>
        </p:txBody>
      </p:sp>
      <p:sp>
        <p:nvSpPr>
          <p:cNvPr id="3" name="Rectangle 2"/>
          <p:cNvSpPr/>
          <p:nvPr/>
        </p:nvSpPr>
        <p:spPr>
          <a:xfrm>
            <a:off x="508758" y="1421535"/>
            <a:ext cx="11006345" cy="646331"/>
          </a:xfrm>
          <a:prstGeom prst="rect">
            <a:avLst/>
          </a:prstGeom>
        </p:spPr>
        <p:txBody>
          <a:bodyPr wrap="square">
            <a:spAutoFit/>
          </a:bodyPr>
          <a:lstStyle/>
          <a:p>
            <a:r>
              <a:rPr lang="en-CA" dirty="0" smtClean="0">
                <a:solidFill>
                  <a:schemeClr val="tx2"/>
                </a:solidFill>
              </a:rPr>
              <a:t>[If you wish to facilitate a Q&amp;A session, you can use the Slido application for questions or the “raise your hand” function in MS Teams for those who wish to ask a question live to the audience.­] </a:t>
            </a:r>
            <a:endParaRPr lang="en-CA" dirty="0">
              <a:solidFill>
                <a:schemeClr val="tx2"/>
              </a:solidFill>
            </a:endParaRPr>
          </a:p>
        </p:txBody>
      </p:sp>
      <p:sp>
        <p:nvSpPr>
          <p:cNvPr id="5" name="TextBox 4"/>
          <p:cNvSpPr txBox="1"/>
          <p:nvPr/>
        </p:nvSpPr>
        <p:spPr>
          <a:xfrm>
            <a:off x="610358" y="2756500"/>
            <a:ext cx="6479628" cy="2826306"/>
          </a:xfrm>
          <a:prstGeom prst="bracketPair">
            <a:avLst/>
          </a:prstGeom>
          <a:noFill/>
          <a:ln>
            <a:solidFill>
              <a:schemeClr val="accent5"/>
            </a:solidFill>
          </a:ln>
        </p:spPr>
        <p:txBody>
          <a:bodyPr wrap="square" rtlCol="0">
            <a:spAutoFit/>
          </a:bodyPr>
          <a:lstStyle/>
          <a:p>
            <a:r>
              <a:rPr lang="en-CA" sz="1600" i="1" dirty="0" smtClean="0">
                <a:solidFill>
                  <a:srgbClr val="000000"/>
                </a:solidFill>
              </a:rPr>
              <a:t>There could be 2 options for the facilitation of this Q&amp;A session:</a:t>
            </a:r>
          </a:p>
          <a:p>
            <a:endParaRPr lang="en-CA" sz="1600" i="1" dirty="0" smtClean="0">
              <a:solidFill>
                <a:srgbClr val="000000"/>
              </a:solidFill>
            </a:endParaRPr>
          </a:p>
          <a:p>
            <a:r>
              <a:rPr lang="en-CA" sz="1600" b="1" i="1" dirty="0" smtClean="0">
                <a:solidFill>
                  <a:srgbClr val="000000"/>
                </a:solidFill>
              </a:rPr>
              <a:t>Option 1</a:t>
            </a:r>
            <a:r>
              <a:rPr lang="en-CA" sz="1600" i="1" dirty="0" smtClean="0">
                <a:solidFill>
                  <a:srgbClr val="000000"/>
                </a:solidFill>
              </a:rPr>
              <a:t>: Pre-populated questions are being asked through Slido and the moderator can interpret the answers and provide more information (maybe by using the slides in the annex).</a:t>
            </a:r>
          </a:p>
          <a:p>
            <a:endParaRPr lang="en-CA" sz="1600" i="1" dirty="0" smtClean="0">
              <a:solidFill>
                <a:srgbClr val="000000"/>
              </a:solidFill>
            </a:endParaRPr>
          </a:p>
          <a:p>
            <a:r>
              <a:rPr lang="en-CA" sz="1600" b="1" i="1" dirty="0" smtClean="0">
                <a:solidFill>
                  <a:srgbClr val="000000"/>
                </a:solidFill>
              </a:rPr>
              <a:t>Option 2</a:t>
            </a:r>
            <a:r>
              <a:rPr lang="en-CA" sz="1600" i="1" dirty="0" smtClean="0">
                <a:solidFill>
                  <a:srgbClr val="000000"/>
                </a:solidFill>
              </a:rPr>
              <a:t>: Opening the floor to any questions thought Slido or via MS Teams being managed by the moderator. The moderator must manage the flow of questions and ask members of the leadership/project team to answer. </a:t>
            </a:r>
            <a:endParaRPr lang="en-CA" sz="1600" i="1" dirty="0">
              <a:solidFill>
                <a:srgbClr val="000000"/>
              </a:solidFill>
            </a:endParaRPr>
          </a:p>
        </p:txBody>
      </p:sp>
      <p:sp>
        <p:nvSpPr>
          <p:cNvPr id="6" name="TextBox 5"/>
          <p:cNvSpPr txBox="1"/>
          <p:nvPr/>
        </p:nvSpPr>
        <p:spPr>
          <a:xfrm>
            <a:off x="7627358" y="3582794"/>
            <a:ext cx="3979186" cy="2485787"/>
          </a:xfrm>
          <a:prstGeom prst="roundRect">
            <a:avLst/>
          </a:prstGeom>
          <a:solidFill>
            <a:srgbClr val="FFC000"/>
          </a:solidFill>
        </p:spPr>
        <p:txBody>
          <a:bodyPr wrap="square" rtlCol="0">
            <a:spAutoFit/>
          </a:bodyPr>
          <a:lstStyle/>
          <a:p>
            <a:pPr algn="ctr"/>
            <a:r>
              <a:rPr lang="en-CA" sz="1400" b="1" dirty="0" smtClean="0">
                <a:solidFill>
                  <a:schemeClr val="tx2"/>
                </a:solidFill>
              </a:rPr>
              <a:t>Recommendations</a:t>
            </a:r>
          </a:p>
          <a:p>
            <a:pPr algn="ctr"/>
            <a:endParaRPr lang="en-CA" sz="1400" b="1" dirty="0" smtClean="0">
              <a:solidFill>
                <a:schemeClr val="tx2"/>
              </a:solidFill>
            </a:endParaRPr>
          </a:p>
          <a:p>
            <a:pPr marL="285750" indent="-285750">
              <a:buFont typeface="Arial" panose="020B0604020202020204" pitchFamily="34" charset="0"/>
              <a:buChar char="•"/>
            </a:pPr>
            <a:r>
              <a:rPr lang="en-CA" sz="1400" dirty="0" smtClean="0">
                <a:solidFill>
                  <a:schemeClr val="tx2"/>
                </a:solidFill>
              </a:rPr>
              <a:t>Distribute key messages ahead of time to all participating team members.</a:t>
            </a:r>
          </a:p>
          <a:p>
            <a:pPr marL="285750" indent="-285750">
              <a:buFont typeface="Arial" panose="020B0604020202020204" pitchFamily="34" charset="0"/>
              <a:buChar char="•"/>
            </a:pPr>
            <a:r>
              <a:rPr lang="en-CA" sz="1400" dirty="0" smtClean="0">
                <a:solidFill>
                  <a:schemeClr val="tx2"/>
                </a:solidFill>
              </a:rPr>
              <a:t>Prior to the session, define which members will answer which type of questions.</a:t>
            </a:r>
          </a:p>
          <a:p>
            <a:pPr marL="285750" indent="-285750">
              <a:buFont typeface="Arial" panose="020B0604020202020204" pitchFamily="34" charset="0"/>
              <a:buChar char="•"/>
            </a:pPr>
            <a:r>
              <a:rPr lang="en-CA" sz="1400" dirty="0" smtClean="0">
                <a:solidFill>
                  <a:schemeClr val="tx2"/>
                </a:solidFill>
              </a:rPr>
              <a:t>Be prepared to say “we don’t have the answer to that yet; however, we are taking note of it and will provide answers as they become available”.</a:t>
            </a:r>
            <a:endParaRPr lang="en-CA" sz="1400" dirty="0">
              <a:solidFill>
                <a:schemeClr val="tx2"/>
              </a:solidFill>
            </a:endParaRPr>
          </a:p>
        </p:txBody>
      </p:sp>
      <p:sp>
        <p:nvSpPr>
          <p:cNvPr id="7" name="Freeform 6" descr="LightBulb Icon"/>
          <p:cNvSpPr>
            <a:spLocks noEditPoints="1"/>
          </p:cNvSpPr>
          <p:nvPr/>
        </p:nvSpPr>
        <p:spPr bwMode="auto">
          <a:xfrm rot="20843298">
            <a:off x="8614876" y="3611886"/>
            <a:ext cx="312771" cy="418948"/>
          </a:xfrm>
          <a:custGeom>
            <a:avLst/>
            <a:gdLst>
              <a:gd name="T0" fmla="*/ 377 w 448"/>
              <a:gd name="T1" fmla="*/ 53 h 671"/>
              <a:gd name="T2" fmla="*/ 224 w 448"/>
              <a:gd name="T3" fmla="*/ 0 h 671"/>
              <a:gd name="T4" fmla="*/ 71 w 448"/>
              <a:gd name="T5" fmla="*/ 53 h 671"/>
              <a:gd name="T6" fmla="*/ 0 w 448"/>
              <a:gd name="T7" fmla="*/ 196 h 671"/>
              <a:gd name="T8" fmla="*/ 78 w 448"/>
              <a:gd name="T9" fmla="*/ 351 h 671"/>
              <a:gd name="T10" fmla="*/ 119 w 448"/>
              <a:gd name="T11" fmla="*/ 440 h 671"/>
              <a:gd name="T12" fmla="*/ 109 w 448"/>
              <a:gd name="T13" fmla="*/ 503 h 671"/>
              <a:gd name="T14" fmla="*/ 118 w 448"/>
              <a:gd name="T15" fmla="*/ 567 h 671"/>
              <a:gd name="T16" fmla="*/ 126 w 448"/>
              <a:gd name="T17" fmla="*/ 618 h 671"/>
              <a:gd name="T18" fmla="*/ 186 w 448"/>
              <a:gd name="T19" fmla="*/ 660 h 671"/>
              <a:gd name="T20" fmla="*/ 262 w 448"/>
              <a:gd name="T21" fmla="*/ 660 h 671"/>
              <a:gd name="T22" fmla="*/ 322 w 448"/>
              <a:gd name="T23" fmla="*/ 618 h 671"/>
              <a:gd name="T24" fmla="*/ 330 w 448"/>
              <a:gd name="T25" fmla="*/ 567 h 671"/>
              <a:gd name="T26" fmla="*/ 339 w 448"/>
              <a:gd name="T27" fmla="*/ 503 h 671"/>
              <a:gd name="T28" fmla="*/ 329 w 448"/>
              <a:gd name="T29" fmla="*/ 440 h 671"/>
              <a:gd name="T30" fmla="*/ 370 w 448"/>
              <a:gd name="T31" fmla="*/ 351 h 671"/>
              <a:gd name="T32" fmla="*/ 448 w 448"/>
              <a:gd name="T33" fmla="*/ 196 h 671"/>
              <a:gd name="T34" fmla="*/ 362 w 448"/>
              <a:gd name="T35" fmla="*/ 274 h 671"/>
              <a:gd name="T36" fmla="*/ 336 w 448"/>
              <a:gd name="T37" fmla="*/ 303 h 671"/>
              <a:gd name="T38" fmla="*/ 174 w 448"/>
              <a:gd name="T39" fmla="*/ 433 h 671"/>
              <a:gd name="T40" fmla="*/ 99 w 448"/>
              <a:gd name="T41" fmla="*/ 289 h 671"/>
              <a:gd name="T42" fmla="*/ 56 w 448"/>
              <a:gd name="T43" fmla="*/ 196 h 671"/>
              <a:gd name="T44" fmla="*/ 111 w 448"/>
              <a:gd name="T45" fmla="*/ 93 h 671"/>
              <a:gd name="T46" fmla="*/ 224 w 448"/>
              <a:gd name="T47" fmla="*/ 56 h 671"/>
              <a:gd name="T48" fmla="*/ 338 w 448"/>
              <a:gd name="T49" fmla="*/ 93 h 671"/>
              <a:gd name="T50" fmla="*/ 392 w 448"/>
              <a:gd name="T51" fmla="*/ 196 h 671"/>
              <a:gd name="T52" fmla="*/ 306 w 448"/>
              <a:gd name="T53" fmla="*/ 156 h 671"/>
              <a:gd name="T54" fmla="*/ 224 w 448"/>
              <a:gd name="T55" fmla="*/ 126 h 671"/>
              <a:gd name="T56" fmla="*/ 210 w 448"/>
              <a:gd name="T57" fmla="*/ 139 h 671"/>
              <a:gd name="T58" fmla="*/ 224 w 448"/>
              <a:gd name="T59" fmla="*/ 154 h 671"/>
              <a:gd name="T60" fmla="*/ 294 w 448"/>
              <a:gd name="T61" fmla="*/ 196 h 671"/>
              <a:gd name="T62" fmla="*/ 308 w 448"/>
              <a:gd name="T63" fmla="*/ 210 h 671"/>
              <a:gd name="T64" fmla="*/ 322 w 448"/>
              <a:gd name="T65" fmla="*/ 196 h 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48" h="671">
                <a:moveTo>
                  <a:pt x="429" y="115"/>
                </a:moveTo>
                <a:cubicBezTo>
                  <a:pt x="416" y="90"/>
                  <a:pt x="398" y="69"/>
                  <a:pt x="377" y="53"/>
                </a:cubicBezTo>
                <a:cubicBezTo>
                  <a:pt x="356" y="36"/>
                  <a:pt x="332" y="23"/>
                  <a:pt x="306" y="14"/>
                </a:cubicBezTo>
                <a:cubicBezTo>
                  <a:pt x="279" y="4"/>
                  <a:pt x="252" y="0"/>
                  <a:pt x="224" y="0"/>
                </a:cubicBezTo>
                <a:cubicBezTo>
                  <a:pt x="196" y="0"/>
                  <a:pt x="169" y="4"/>
                  <a:pt x="142" y="14"/>
                </a:cubicBezTo>
                <a:cubicBezTo>
                  <a:pt x="116" y="23"/>
                  <a:pt x="92" y="36"/>
                  <a:pt x="71" y="53"/>
                </a:cubicBezTo>
                <a:cubicBezTo>
                  <a:pt x="50" y="69"/>
                  <a:pt x="32" y="90"/>
                  <a:pt x="20" y="115"/>
                </a:cubicBezTo>
                <a:cubicBezTo>
                  <a:pt x="7" y="140"/>
                  <a:pt x="0" y="167"/>
                  <a:pt x="0" y="196"/>
                </a:cubicBezTo>
                <a:cubicBezTo>
                  <a:pt x="0" y="241"/>
                  <a:pt x="15" y="280"/>
                  <a:pt x="45" y="313"/>
                </a:cubicBezTo>
                <a:cubicBezTo>
                  <a:pt x="58" y="327"/>
                  <a:pt x="69" y="340"/>
                  <a:pt x="78" y="351"/>
                </a:cubicBezTo>
                <a:cubicBezTo>
                  <a:pt x="86" y="362"/>
                  <a:pt x="95" y="376"/>
                  <a:pt x="104" y="393"/>
                </a:cubicBezTo>
                <a:cubicBezTo>
                  <a:pt x="112" y="409"/>
                  <a:pt x="117" y="425"/>
                  <a:pt x="119" y="440"/>
                </a:cubicBezTo>
                <a:cubicBezTo>
                  <a:pt x="105" y="448"/>
                  <a:pt x="98" y="460"/>
                  <a:pt x="98" y="475"/>
                </a:cubicBezTo>
                <a:cubicBezTo>
                  <a:pt x="98" y="486"/>
                  <a:pt x="102" y="496"/>
                  <a:pt x="109" y="503"/>
                </a:cubicBezTo>
                <a:cubicBezTo>
                  <a:pt x="102" y="511"/>
                  <a:pt x="98" y="521"/>
                  <a:pt x="98" y="531"/>
                </a:cubicBezTo>
                <a:cubicBezTo>
                  <a:pt x="98" y="547"/>
                  <a:pt x="105" y="558"/>
                  <a:pt x="118" y="567"/>
                </a:cubicBezTo>
                <a:cubicBezTo>
                  <a:pt x="114" y="574"/>
                  <a:pt x="112" y="580"/>
                  <a:pt x="112" y="587"/>
                </a:cubicBezTo>
                <a:cubicBezTo>
                  <a:pt x="112" y="601"/>
                  <a:pt x="117" y="611"/>
                  <a:pt x="126" y="618"/>
                </a:cubicBezTo>
                <a:cubicBezTo>
                  <a:pt x="135" y="626"/>
                  <a:pt x="146" y="629"/>
                  <a:pt x="160" y="629"/>
                </a:cubicBezTo>
                <a:cubicBezTo>
                  <a:pt x="166" y="642"/>
                  <a:pt x="174" y="652"/>
                  <a:pt x="186" y="660"/>
                </a:cubicBezTo>
                <a:cubicBezTo>
                  <a:pt x="198" y="668"/>
                  <a:pt x="210" y="671"/>
                  <a:pt x="224" y="671"/>
                </a:cubicBezTo>
                <a:cubicBezTo>
                  <a:pt x="238" y="671"/>
                  <a:pt x="250" y="668"/>
                  <a:pt x="262" y="660"/>
                </a:cubicBezTo>
                <a:cubicBezTo>
                  <a:pt x="274" y="652"/>
                  <a:pt x="283" y="642"/>
                  <a:pt x="288" y="629"/>
                </a:cubicBezTo>
                <a:cubicBezTo>
                  <a:pt x="302" y="629"/>
                  <a:pt x="313" y="626"/>
                  <a:pt x="322" y="618"/>
                </a:cubicBezTo>
                <a:cubicBezTo>
                  <a:pt x="331" y="611"/>
                  <a:pt x="336" y="601"/>
                  <a:pt x="336" y="587"/>
                </a:cubicBezTo>
                <a:cubicBezTo>
                  <a:pt x="336" y="580"/>
                  <a:pt x="334" y="574"/>
                  <a:pt x="330" y="567"/>
                </a:cubicBezTo>
                <a:cubicBezTo>
                  <a:pt x="343" y="558"/>
                  <a:pt x="350" y="547"/>
                  <a:pt x="350" y="531"/>
                </a:cubicBezTo>
                <a:cubicBezTo>
                  <a:pt x="350" y="521"/>
                  <a:pt x="346" y="511"/>
                  <a:pt x="339" y="503"/>
                </a:cubicBezTo>
                <a:cubicBezTo>
                  <a:pt x="346" y="496"/>
                  <a:pt x="350" y="486"/>
                  <a:pt x="350" y="475"/>
                </a:cubicBezTo>
                <a:cubicBezTo>
                  <a:pt x="350" y="460"/>
                  <a:pt x="343" y="448"/>
                  <a:pt x="329" y="440"/>
                </a:cubicBezTo>
                <a:cubicBezTo>
                  <a:pt x="331" y="425"/>
                  <a:pt x="336" y="409"/>
                  <a:pt x="344" y="393"/>
                </a:cubicBezTo>
                <a:cubicBezTo>
                  <a:pt x="353" y="376"/>
                  <a:pt x="362" y="362"/>
                  <a:pt x="370" y="351"/>
                </a:cubicBezTo>
                <a:cubicBezTo>
                  <a:pt x="379" y="340"/>
                  <a:pt x="390" y="327"/>
                  <a:pt x="403" y="313"/>
                </a:cubicBezTo>
                <a:cubicBezTo>
                  <a:pt x="433" y="280"/>
                  <a:pt x="448" y="241"/>
                  <a:pt x="448" y="196"/>
                </a:cubicBezTo>
                <a:cubicBezTo>
                  <a:pt x="448" y="167"/>
                  <a:pt x="442" y="140"/>
                  <a:pt x="429" y="115"/>
                </a:cubicBezTo>
                <a:close/>
                <a:moveTo>
                  <a:pt x="362" y="274"/>
                </a:moveTo>
                <a:cubicBezTo>
                  <a:pt x="359" y="278"/>
                  <a:pt x="355" y="282"/>
                  <a:pt x="349" y="289"/>
                </a:cubicBezTo>
                <a:cubicBezTo>
                  <a:pt x="343" y="295"/>
                  <a:pt x="338" y="300"/>
                  <a:pt x="336" y="303"/>
                </a:cubicBezTo>
                <a:cubicBezTo>
                  <a:pt x="298" y="348"/>
                  <a:pt x="278" y="391"/>
                  <a:pt x="274" y="433"/>
                </a:cubicBezTo>
                <a:cubicBezTo>
                  <a:pt x="174" y="433"/>
                  <a:pt x="174" y="433"/>
                  <a:pt x="174" y="433"/>
                </a:cubicBezTo>
                <a:cubicBezTo>
                  <a:pt x="170" y="391"/>
                  <a:pt x="150" y="348"/>
                  <a:pt x="112" y="303"/>
                </a:cubicBezTo>
                <a:cubicBezTo>
                  <a:pt x="110" y="300"/>
                  <a:pt x="105" y="295"/>
                  <a:pt x="99" y="289"/>
                </a:cubicBezTo>
                <a:cubicBezTo>
                  <a:pt x="93" y="282"/>
                  <a:pt x="89" y="278"/>
                  <a:pt x="86" y="274"/>
                </a:cubicBezTo>
                <a:cubicBezTo>
                  <a:pt x="66" y="251"/>
                  <a:pt x="56" y="225"/>
                  <a:pt x="56" y="196"/>
                </a:cubicBezTo>
                <a:cubicBezTo>
                  <a:pt x="56" y="175"/>
                  <a:pt x="61" y="155"/>
                  <a:pt x="71" y="137"/>
                </a:cubicBezTo>
                <a:cubicBezTo>
                  <a:pt x="81" y="119"/>
                  <a:pt x="94" y="104"/>
                  <a:pt x="111" y="93"/>
                </a:cubicBezTo>
                <a:cubicBezTo>
                  <a:pt x="127" y="81"/>
                  <a:pt x="145" y="72"/>
                  <a:pt x="164" y="65"/>
                </a:cubicBezTo>
                <a:cubicBezTo>
                  <a:pt x="184" y="59"/>
                  <a:pt x="204" y="56"/>
                  <a:pt x="224" y="56"/>
                </a:cubicBezTo>
                <a:cubicBezTo>
                  <a:pt x="244" y="56"/>
                  <a:pt x="264" y="59"/>
                  <a:pt x="284" y="65"/>
                </a:cubicBezTo>
                <a:cubicBezTo>
                  <a:pt x="303" y="72"/>
                  <a:pt x="321" y="81"/>
                  <a:pt x="338" y="93"/>
                </a:cubicBezTo>
                <a:cubicBezTo>
                  <a:pt x="354" y="104"/>
                  <a:pt x="367" y="119"/>
                  <a:pt x="377" y="137"/>
                </a:cubicBezTo>
                <a:cubicBezTo>
                  <a:pt x="387" y="155"/>
                  <a:pt x="392" y="175"/>
                  <a:pt x="392" y="196"/>
                </a:cubicBezTo>
                <a:cubicBezTo>
                  <a:pt x="392" y="225"/>
                  <a:pt x="382" y="251"/>
                  <a:pt x="362" y="274"/>
                </a:cubicBezTo>
                <a:close/>
                <a:moveTo>
                  <a:pt x="306" y="156"/>
                </a:moveTo>
                <a:cubicBezTo>
                  <a:pt x="295" y="145"/>
                  <a:pt x="282" y="137"/>
                  <a:pt x="268" y="133"/>
                </a:cubicBezTo>
                <a:cubicBezTo>
                  <a:pt x="253" y="128"/>
                  <a:pt x="239" y="126"/>
                  <a:pt x="224" y="126"/>
                </a:cubicBezTo>
                <a:cubicBezTo>
                  <a:pt x="214" y="130"/>
                  <a:pt x="214" y="130"/>
                  <a:pt x="214" y="130"/>
                </a:cubicBezTo>
                <a:cubicBezTo>
                  <a:pt x="210" y="139"/>
                  <a:pt x="210" y="139"/>
                  <a:pt x="210" y="139"/>
                </a:cubicBezTo>
                <a:cubicBezTo>
                  <a:pt x="214" y="149"/>
                  <a:pt x="214" y="149"/>
                  <a:pt x="214" y="149"/>
                </a:cubicBezTo>
                <a:cubicBezTo>
                  <a:pt x="224" y="154"/>
                  <a:pt x="224" y="154"/>
                  <a:pt x="224" y="154"/>
                </a:cubicBezTo>
                <a:cubicBezTo>
                  <a:pt x="239" y="154"/>
                  <a:pt x="255" y="157"/>
                  <a:pt x="270" y="164"/>
                </a:cubicBezTo>
                <a:cubicBezTo>
                  <a:pt x="286" y="172"/>
                  <a:pt x="294" y="182"/>
                  <a:pt x="294" y="196"/>
                </a:cubicBezTo>
                <a:cubicBezTo>
                  <a:pt x="298" y="205"/>
                  <a:pt x="298" y="205"/>
                  <a:pt x="298" y="205"/>
                </a:cubicBezTo>
                <a:cubicBezTo>
                  <a:pt x="308" y="210"/>
                  <a:pt x="308" y="210"/>
                  <a:pt x="308" y="210"/>
                </a:cubicBezTo>
                <a:cubicBezTo>
                  <a:pt x="318" y="205"/>
                  <a:pt x="318" y="205"/>
                  <a:pt x="318" y="205"/>
                </a:cubicBezTo>
                <a:cubicBezTo>
                  <a:pt x="322" y="196"/>
                  <a:pt x="322" y="196"/>
                  <a:pt x="322" y="196"/>
                </a:cubicBezTo>
                <a:cubicBezTo>
                  <a:pt x="322" y="180"/>
                  <a:pt x="317" y="167"/>
                  <a:pt x="306" y="156"/>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Tree>
    <p:extLst>
      <p:ext uri="{BB962C8B-B14F-4D97-AF65-F5344CB8AC3E}">
        <p14:creationId xmlns:p14="http://schemas.microsoft.com/office/powerpoint/2010/main" val="91978988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CA" dirty="0" smtClean="0"/>
              <a:t>Annex</a:t>
            </a:r>
            <a:endParaRPr lang="en-CA" dirty="0"/>
          </a:p>
        </p:txBody>
      </p:sp>
    </p:spTree>
    <p:extLst>
      <p:ext uri="{BB962C8B-B14F-4D97-AF65-F5344CB8AC3E}">
        <p14:creationId xmlns:p14="http://schemas.microsoft.com/office/powerpoint/2010/main" val="136485948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CA" dirty="0">
                <a:latin typeface="Calibri" panose="020F0502020204030204" pitchFamily="34" charset="0"/>
                <a:ea typeface="Times New Roman" panose="02020603050405020304" pitchFamily="18" charset="0"/>
                <a:cs typeface="Times New Roman" panose="02020603050405020304" pitchFamily="18" charset="0"/>
              </a:rPr>
              <a:t>GOOD PRACTICES to facilitate </a:t>
            </a:r>
            <a:r>
              <a:rPr lang="en-CA" dirty="0" smtClean="0">
                <a:latin typeface="Calibri" panose="020F0502020204030204" pitchFamily="34" charset="0"/>
                <a:ea typeface="Times New Roman" panose="02020603050405020304" pitchFamily="18" charset="0"/>
                <a:cs typeface="Times New Roman" panose="02020603050405020304" pitchFamily="18" charset="0"/>
              </a:rPr>
              <a:t>engagement sessions</a:t>
            </a:r>
            <a:endParaRPr lang="fr-CA" dirty="0"/>
          </a:p>
        </p:txBody>
      </p:sp>
      <p:sp>
        <p:nvSpPr>
          <p:cNvPr id="3" name="Rectangle 2"/>
          <p:cNvSpPr/>
          <p:nvPr/>
        </p:nvSpPr>
        <p:spPr>
          <a:xfrm>
            <a:off x="508759" y="1218373"/>
            <a:ext cx="11274552" cy="5001369"/>
          </a:xfrm>
          <a:prstGeom prst="rect">
            <a:avLst/>
          </a:prstGeom>
        </p:spPr>
        <p:txBody>
          <a:bodyPr wrap="square">
            <a:spAutoFit/>
          </a:bodyPr>
          <a:lstStyle/>
          <a:p>
            <a:pPr>
              <a:spcAft>
                <a:spcPts val="0"/>
              </a:spcAft>
            </a:pPr>
            <a:endParaRPr lang="en-CA" sz="1100" dirty="0">
              <a:latin typeface="Calibri" panose="020F0502020204030204" pitchFamily="34" charset="0"/>
              <a:ea typeface="Times New Roman" panose="02020603050405020304" pitchFamily="18" charset="0"/>
              <a:cs typeface="Times New Roman" panose="02020603050405020304" pitchFamily="18" charset="0"/>
            </a:endParaRPr>
          </a:p>
          <a:p>
            <a:pPr>
              <a:spcAft>
                <a:spcPts val="0"/>
              </a:spcAft>
            </a:pPr>
            <a:r>
              <a:rPr lang="fr-CA" sz="1100" b="1" dirty="0">
                <a:latin typeface="Calibri" panose="020F0502020204030204" pitchFamily="34" charset="0"/>
                <a:ea typeface="Times New Roman" panose="02020603050405020304" pitchFamily="18" charset="0"/>
                <a:cs typeface="Times New Roman" panose="02020603050405020304" pitchFamily="18" charset="0"/>
              </a:rPr>
              <a:t>LOGISTIC OF THE SESSION</a:t>
            </a:r>
            <a:endParaRPr lang="en-CA" sz="1100" dirty="0">
              <a:latin typeface="Calibri" panose="020F0502020204030204" pitchFamily="34" charset="0"/>
              <a:ea typeface="Times New Roman" panose="02020603050405020304" pitchFamily="18" charset="0"/>
              <a:cs typeface="Times New Roman" panose="02020603050405020304" pitchFamily="18" charset="0"/>
            </a:endParaRPr>
          </a:p>
          <a:p>
            <a:pPr marL="342900" lvl="0" indent="-342900">
              <a:spcAft>
                <a:spcPts val="0"/>
              </a:spcAft>
              <a:buFont typeface="Symbol" panose="05050102010706020507" pitchFamily="18" charset="2"/>
              <a:buChar char=""/>
            </a:pPr>
            <a:r>
              <a:rPr lang="en-CA" sz="1100" dirty="0">
                <a:latin typeface="Calibri" panose="020F0502020204030204" pitchFamily="34" charset="0"/>
                <a:ea typeface="Times New Roman" panose="02020603050405020304" pitchFamily="18" charset="0"/>
                <a:cs typeface="Calibri" panose="020F0502020204030204" pitchFamily="34" charset="0"/>
              </a:rPr>
              <a:t>Identify a </a:t>
            </a:r>
            <a:r>
              <a:rPr lang="en-CA" sz="1100" dirty="0">
                <a:solidFill>
                  <a:srgbClr val="4472C4"/>
                </a:solidFill>
                <a:latin typeface="Calibri" panose="020F0502020204030204" pitchFamily="34" charset="0"/>
                <a:ea typeface="Times New Roman" panose="02020603050405020304" pitchFamily="18" charset="0"/>
                <a:cs typeface="Calibri" panose="020F0502020204030204" pitchFamily="34" charset="0"/>
              </a:rPr>
              <a:t>moderator</a:t>
            </a:r>
            <a:r>
              <a:rPr lang="en-CA" sz="1100" dirty="0">
                <a:latin typeface="Calibri" panose="020F0502020204030204" pitchFamily="34" charset="0"/>
                <a:ea typeface="Times New Roman" panose="02020603050405020304" pitchFamily="18" charset="0"/>
                <a:cs typeface="Calibri" panose="020F0502020204030204" pitchFamily="34" charset="0"/>
              </a:rPr>
              <a:t> that will be able to interconnect the SMEs and the audience. The moderator can also ensure that the questions being asked are appropriate (in person or via a chat function). Remember, a great moderator facilitates the conversation, doesn’t join in or take over.</a:t>
            </a:r>
            <a:endParaRPr lang="en-CA" sz="1100" dirty="0">
              <a:latin typeface="Calibri" panose="020F0502020204030204" pitchFamily="34" charset="0"/>
              <a:ea typeface="Times New Roman" panose="02020603050405020304" pitchFamily="18" charset="0"/>
              <a:cs typeface="Times New Roman" panose="02020603050405020304" pitchFamily="18" charset="0"/>
            </a:endParaRPr>
          </a:p>
          <a:p>
            <a:pPr marL="342900" lvl="0" indent="-342900">
              <a:spcAft>
                <a:spcPts val="0"/>
              </a:spcAft>
              <a:buFont typeface="Symbol" panose="05050102010706020507" pitchFamily="18" charset="2"/>
              <a:buChar char=""/>
            </a:pPr>
            <a:r>
              <a:rPr lang="en-CA" sz="1100" dirty="0">
                <a:latin typeface="Calibri" panose="020F0502020204030204" pitchFamily="34" charset="0"/>
                <a:ea typeface="Times New Roman" panose="02020603050405020304" pitchFamily="18" charset="0"/>
                <a:cs typeface="Calibri" panose="020F0502020204030204" pitchFamily="34" charset="0"/>
              </a:rPr>
              <a:t>If the session is facilitated virtually, consider having a third person that will have the role of a “</a:t>
            </a:r>
            <a:r>
              <a:rPr lang="en-CA" sz="1100" dirty="0">
                <a:solidFill>
                  <a:srgbClr val="4472C4"/>
                </a:solidFill>
                <a:latin typeface="Calibri" panose="020F0502020204030204" pitchFamily="34" charset="0"/>
                <a:ea typeface="Times New Roman" panose="02020603050405020304" pitchFamily="18" charset="0"/>
                <a:cs typeface="Calibri" panose="020F0502020204030204" pitchFamily="34" charset="0"/>
              </a:rPr>
              <a:t>producer</a:t>
            </a:r>
            <a:r>
              <a:rPr lang="en-CA" sz="1100" dirty="0">
                <a:latin typeface="Calibri" panose="020F0502020204030204" pitchFamily="34" charset="0"/>
                <a:ea typeface="Times New Roman" panose="02020603050405020304" pitchFamily="18" charset="0"/>
                <a:cs typeface="Calibri" panose="020F0502020204030204" pitchFamily="34" charset="0"/>
              </a:rPr>
              <a:t>”. This person can manage the technical aspect of the session – technical issues reported by participants and facilitators, management of videos, survey </a:t>
            </a:r>
            <a:r>
              <a:rPr lang="en-CA" sz="1100" dirty="0" err="1">
                <a:latin typeface="Calibri" panose="020F0502020204030204" pitchFamily="34" charset="0"/>
                <a:ea typeface="Times New Roman" panose="02020603050405020304" pitchFamily="18" charset="0"/>
                <a:cs typeface="Calibri" panose="020F0502020204030204" pitchFamily="34" charset="0"/>
              </a:rPr>
              <a:t>plateforms</a:t>
            </a:r>
            <a:r>
              <a:rPr lang="en-CA" sz="1100" dirty="0">
                <a:latin typeface="Calibri" panose="020F0502020204030204" pitchFamily="34" charset="0"/>
                <a:ea typeface="Times New Roman" panose="02020603050405020304" pitchFamily="18" charset="0"/>
                <a:cs typeface="Calibri" panose="020F0502020204030204" pitchFamily="34" charset="0"/>
              </a:rPr>
              <a:t>, etc. </a:t>
            </a:r>
            <a:endParaRPr lang="en-CA" sz="1100" dirty="0">
              <a:latin typeface="Calibri" panose="020F0502020204030204" pitchFamily="34" charset="0"/>
              <a:ea typeface="Times New Roman" panose="02020603050405020304" pitchFamily="18" charset="0"/>
              <a:cs typeface="Times New Roman" panose="02020603050405020304" pitchFamily="18" charset="0"/>
            </a:endParaRPr>
          </a:p>
          <a:p>
            <a:pPr marL="342900" lvl="0" indent="-342900">
              <a:spcAft>
                <a:spcPts val="0"/>
              </a:spcAft>
              <a:buFont typeface="Symbol" panose="05050102010706020507" pitchFamily="18" charset="2"/>
              <a:buChar char=""/>
            </a:pPr>
            <a:r>
              <a:rPr lang="en-CA" sz="1100" dirty="0">
                <a:latin typeface="Calibri" panose="020F0502020204030204" pitchFamily="34" charset="0"/>
                <a:ea typeface="Times New Roman" panose="02020603050405020304" pitchFamily="18" charset="0"/>
                <a:cs typeface="Calibri" panose="020F0502020204030204" pitchFamily="34" charset="0"/>
              </a:rPr>
              <a:t>Have a few questions prepared in case no one is asking </a:t>
            </a:r>
            <a:r>
              <a:rPr lang="en-CA" sz="1100" dirty="0" smtClean="0">
                <a:latin typeface="Calibri" panose="020F0502020204030204" pitchFamily="34" charset="0"/>
                <a:ea typeface="Times New Roman" panose="02020603050405020304" pitchFamily="18" charset="0"/>
                <a:cs typeface="Calibri" panose="020F0502020204030204" pitchFamily="34" charset="0"/>
              </a:rPr>
              <a:t>questions</a:t>
            </a:r>
            <a:endParaRPr lang="en-CA" sz="1100" dirty="0">
              <a:latin typeface="Calibri" panose="020F0502020204030204" pitchFamily="34" charset="0"/>
              <a:ea typeface="Times New Roman" panose="02020603050405020304" pitchFamily="18" charset="0"/>
              <a:cs typeface="Times New Roman" panose="02020603050405020304" pitchFamily="18" charset="0"/>
            </a:endParaRPr>
          </a:p>
          <a:p>
            <a:pPr marL="342900" lvl="0" indent="-342900" fontAlgn="base">
              <a:spcAft>
                <a:spcPts val="0"/>
              </a:spcAft>
              <a:buFont typeface="Symbol" panose="05050102010706020507" pitchFamily="18" charset="2"/>
              <a:buChar char=""/>
            </a:pPr>
            <a:r>
              <a:rPr lang="en-CA" sz="1100" dirty="0">
                <a:latin typeface="Calibri" panose="020F0502020204030204" pitchFamily="34" charset="0"/>
                <a:ea typeface="Times New Roman" panose="02020603050405020304" pitchFamily="18" charset="0"/>
                <a:cs typeface="Calibri" panose="020F0502020204030204" pitchFamily="34" charset="0"/>
              </a:rPr>
              <a:t>Organize a </a:t>
            </a:r>
            <a:r>
              <a:rPr lang="en-CA" sz="1100" dirty="0">
                <a:solidFill>
                  <a:srgbClr val="4472C4"/>
                </a:solidFill>
                <a:latin typeface="Calibri" panose="020F0502020204030204" pitchFamily="34" charset="0"/>
                <a:ea typeface="Times New Roman" panose="02020603050405020304" pitchFamily="18" charset="0"/>
                <a:cs typeface="Calibri" panose="020F0502020204030204" pitchFamily="34" charset="0"/>
              </a:rPr>
              <a:t>dry-run</a:t>
            </a:r>
            <a:r>
              <a:rPr lang="en-CA" sz="1100" dirty="0">
                <a:latin typeface="Calibri" panose="020F0502020204030204" pitchFamily="34" charset="0"/>
                <a:ea typeface="Times New Roman" panose="02020603050405020304" pitchFamily="18" charset="0"/>
                <a:cs typeface="Calibri" panose="020F0502020204030204" pitchFamily="34" charset="0"/>
              </a:rPr>
              <a:t> with the whole team and think about possible questions that may be asked</a:t>
            </a:r>
            <a:endParaRPr lang="en-CA" sz="1100" dirty="0">
              <a:latin typeface="Calibri" panose="020F0502020204030204" pitchFamily="34" charset="0"/>
              <a:ea typeface="Times New Roman" panose="02020603050405020304" pitchFamily="18" charset="0"/>
              <a:cs typeface="Times New Roman" panose="02020603050405020304" pitchFamily="18" charset="0"/>
            </a:endParaRPr>
          </a:p>
          <a:p>
            <a:pPr marL="342900" lvl="0" indent="-342900" fontAlgn="base">
              <a:spcAft>
                <a:spcPts val="0"/>
              </a:spcAft>
              <a:buFont typeface="Symbol" panose="05050102010706020507" pitchFamily="18" charset="2"/>
              <a:buChar char=""/>
            </a:pPr>
            <a:r>
              <a:rPr lang="en-CA" sz="1100" dirty="0">
                <a:latin typeface="Calibri" panose="020F0502020204030204" pitchFamily="34" charset="0"/>
                <a:ea typeface="Times New Roman" panose="02020603050405020304" pitchFamily="18" charset="0"/>
                <a:cs typeface="Calibri" panose="020F0502020204030204" pitchFamily="34" charset="0"/>
              </a:rPr>
              <a:t>Think in advance of the likely questions that you’ll receive and give some quality time to considering how you’ll answer them. This is a great discipline as it’ll give you the chance to practice giving clear succinct answers. (There is nothing worse than an answer that turns into a presentation. Always remember to keep answers short and to the point.) The </a:t>
            </a:r>
            <a:r>
              <a:rPr lang="en-CA" sz="1100" dirty="0">
                <a:solidFill>
                  <a:srgbClr val="4472C4"/>
                </a:solidFill>
                <a:latin typeface="Calibri" panose="020F0502020204030204" pitchFamily="34" charset="0"/>
                <a:ea typeface="Times New Roman" panose="02020603050405020304" pitchFamily="18" charset="0"/>
                <a:cs typeface="Calibri" panose="020F0502020204030204" pitchFamily="34" charset="0"/>
              </a:rPr>
              <a:t>potential questions and answers</a:t>
            </a:r>
            <a:r>
              <a:rPr lang="en-CA" sz="1100" dirty="0">
                <a:latin typeface="Calibri" panose="020F0502020204030204" pitchFamily="34" charset="0"/>
                <a:ea typeface="Times New Roman" panose="02020603050405020304" pitchFamily="18" charset="0"/>
                <a:cs typeface="Calibri" panose="020F0502020204030204" pitchFamily="34" charset="0"/>
              </a:rPr>
              <a:t> can be provided before as well as key messages. </a:t>
            </a:r>
            <a:r>
              <a:rPr lang="en-CA" sz="1100" spc="20" dirty="0">
                <a:latin typeface="Calibri" panose="020F0502020204030204" pitchFamily="34" charset="0"/>
                <a:ea typeface="Times New Roman" panose="02020603050405020304" pitchFamily="18" charset="0"/>
                <a:cs typeface="Times New Roman" panose="02020603050405020304" pitchFamily="18" charset="0"/>
              </a:rPr>
              <a:t>Prep an answer for odd and inappropriate questions that allows both you and the asker to save face. For example, you might say, ‘That’s a great question and although I don’t feel it’s appropriate to answer at this time, I’d be happy to address it one-on-one after the session.’</a:t>
            </a:r>
            <a:endParaRPr lang="en-CA" sz="1100" dirty="0">
              <a:latin typeface="Calibri" panose="020F0502020204030204" pitchFamily="34" charset="0"/>
              <a:ea typeface="Times New Roman" panose="02020603050405020304" pitchFamily="18" charset="0"/>
              <a:cs typeface="Times New Roman" panose="02020603050405020304" pitchFamily="18" charset="0"/>
            </a:endParaRPr>
          </a:p>
          <a:p>
            <a:pPr marL="342900" lvl="0" indent="-342900" fontAlgn="base">
              <a:spcAft>
                <a:spcPts val="0"/>
              </a:spcAft>
              <a:buFont typeface="Symbol" panose="05050102010706020507" pitchFamily="18" charset="2"/>
              <a:buChar char=""/>
            </a:pPr>
            <a:r>
              <a:rPr lang="en-CA" sz="1100" dirty="0">
                <a:latin typeface="Calibri" panose="020F0502020204030204" pitchFamily="34" charset="0"/>
                <a:ea typeface="Times New Roman" panose="02020603050405020304" pitchFamily="18" charset="0"/>
                <a:cs typeface="Calibri" panose="020F0502020204030204" pitchFamily="34" charset="0"/>
              </a:rPr>
              <a:t>For in-person or virtual session, make sure you have the </a:t>
            </a:r>
            <a:r>
              <a:rPr lang="en-CA" sz="1100" dirty="0">
                <a:solidFill>
                  <a:srgbClr val="4472C4"/>
                </a:solidFill>
                <a:latin typeface="Calibri" panose="020F0502020204030204" pitchFamily="34" charset="0"/>
                <a:ea typeface="Times New Roman" panose="02020603050405020304" pitchFamily="18" charset="0"/>
                <a:cs typeface="Calibri" panose="020F0502020204030204" pitchFamily="34" charset="0"/>
              </a:rPr>
              <a:t>right tools in place</a:t>
            </a:r>
            <a:r>
              <a:rPr lang="en-CA" sz="1100" dirty="0">
                <a:latin typeface="Calibri" panose="020F0502020204030204" pitchFamily="34" charset="0"/>
                <a:ea typeface="Times New Roman" panose="02020603050405020304" pitchFamily="18" charset="0"/>
                <a:cs typeface="Calibri" panose="020F0502020204030204" pitchFamily="34" charset="0"/>
              </a:rPr>
              <a:t> – microphone, chat function enabled, Q&amp;A tools (see below), etc.</a:t>
            </a:r>
            <a:endParaRPr lang="en-CA" sz="1100" dirty="0">
              <a:latin typeface="Calibri" panose="020F0502020204030204" pitchFamily="34" charset="0"/>
              <a:ea typeface="Times New Roman" panose="02020603050405020304" pitchFamily="18" charset="0"/>
              <a:cs typeface="Times New Roman" panose="02020603050405020304" pitchFamily="18" charset="0"/>
            </a:endParaRPr>
          </a:p>
          <a:p>
            <a:pPr>
              <a:spcAft>
                <a:spcPts val="0"/>
              </a:spcAft>
            </a:pPr>
            <a:r>
              <a:rPr lang="en-CA" sz="1100" b="1" dirty="0">
                <a:latin typeface="Calibri" panose="020F0502020204030204" pitchFamily="34" charset="0"/>
                <a:ea typeface="Times New Roman" panose="02020603050405020304" pitchFamily="18" charset="0"/>
                <a:cs typeface="Calibri" panose="020F0502020204030204" pitchFamily="34" charset="0"/>
              </a:rPr>
              <a:t> </a:t>
            </a:r>
            <a:endParaRPr lang="en-CA" sz="1100" dirty="0">
              <a:latin typeface="Calibri" panose="020F0502020204030204" pitchFamily="34" charset="0"/>
              <a:ea typeface="Times New Roman" panose="02020603050405020304" pitchFamily="18" charset="0"/>
              <a:cs typeface="Times New Roman" panose="02020603050405020304" pitchFamily="18" charset="0"/>
            </a:endParaRPr>
          </a:p>
          <a:p>
            <a:pPr>
              <a:spcAft>
                <a:spcPts val="0"/>
              </a:spcAft>
            </a:pPr>
            <a:r>
              <a:rPr lang="en-CA" sz="1100" b="1" dirty="0">
                <a:latin typeface="Calibri" panose="020F0502020204030204" pitchFamily="34" charset="0"/>
                <a:ea typeface="Times New Roman" panose="02020603050405020304" pitchFamily="18" charset="0"/>
                <a:cs typeface="Calibri" panose="020F0502020204030204" pitchFamily="34" charset="0"/>
              </a:rPr>
              <a:t>MANAGING THE SESSION</a:t>
            </a:r>
            <a:endParaRPr lang="en-CA" sz="1100" dirty="0">
              <a:latin typeface="Calibri" panose="020F0502020204030204" pitchFamily="34" charset="0"/>
              <a:ea typeface="Times New Roman" panose="02020603050405020304" pitchFamily="18" charset="0"/>
              <a:cs typeface="Times New Roman" panose="02020603050405020304" pitchFamily="18" charset="0"/>
            </a:endParaRPr>
          </a:p>
          <a:p>
            <a:pPr marL="342900" lvl="0" indent="-342900">
              <a:spcAft>
                <a:spcPts val="0"/>
              </a:spcAft>
              <a:buFont typeface="Symbol" panose="05050102010706020507" pitchFamily="18" charset="2"/>
              <a:buChar char=""/>
            </a:pPr>
            <a:r>
              <a:rPr lang="en-CA" sz="1100" dirty="0">
                <a:latin typeface="Calibri" panose="020F0502020204030204" pitchFamily="34" charset="0"/>
                <a:ea typeface="Times New Roman" panose="02020603050405020304" pitchFamily="18" charset="0"/>
                <a:cs typeface="Calibri" panose="020F0502020204030204" pitchFamily="34" charset="0"/>
              </a:rPr>
              <a:t>You might find that some audience members want to engage in a debate during these types of events, especially around controversial topics. The presenter and the moderator should </a:t>
            </a:r>
            <a:r>
              <a:rPr lang="en-CA" sz="1100" dirty="0">
                <a:solidFill>
                  <a:srgbClr val="4472C4"/>
                </a:solidFill>
                <a:latin typeface="Calibri" panose="020F0502020204030204" pitchFamily="34" charset="0"/>
                <a:ea typeface="Times New Roman" panose="02020603050405020304" pitchFamily="18" charset="0"/>
                <a:cs typeface="Calibri" panose="020F0502020204030204" pitchFamily="34" charset="0"/>
              </a:rPr>
              <a:t>avoid indulging in such debates</a:t>
            </a:r>
            <a:r>
              <a:rPr lang="en-CA" sz="1100" dirty="0">
                <a:latin typeface="Calibri" panose="020F0502020204030204" pitchFamily="34" charset="0"/>
                <a:ea typeface="Times New Roman" panose="02020603050405020304" pitchFamily="18" charset="0"/>
                <a:cs typeface="Calibri" panose="020F0502020204030204" pitchFamily="34" charset="0"/>
              </a:rPr>
              <a:t> during the </a:t>
            </a:r>
            <a:r>
              <a:rPr lang="en-CA" sz="1100" dirty="0" smtClean="0">
                <a:latin typeface="Calibri" panose="020F0502020204030204" pitchFamily="34" charset="0"/>
                <a:ea typeface="Times New Roman" panose="02020603050405020304" pitchFamily="18" charset="0"/>
                <a:cs typeface="Calibri" panose="020F0502020204030204" pitchFamily="34" charset="0"/>
              </a:rPr>
              <a:t>session </a:t>
            </a:r>
            <a:r>
              <a:rPr lang="en-CA" sz="1100" dirty="0">
                <a:latin typeface="Calibri" panose="020F0502020204030204" pitchFamily="34" charset="0"/>
                <a:ea typeface="Times New Roman" panose="02020603050405020304" pitchFamily="18" charset="0"/>
                <a:cs typeface="Calibri" panose="020F0502020204030204" pitchFamily="34" charset="0"/>
              </a:rPr>
              <a:t>as they take up time and are often only interesting for the person debating. Instead, if you find that an intense discussion is starting, let the audience know that they can continue the discussion afterwards or give them a way to reach out to contact you after the presentation. This will help the session run </a:t>
            </a:r>
            <a:r>
              <a:rPr lang="en-CA" sz="1100" dirty="0" smtClean="0">
                <a:latin typeface="Calibri" panose="020F0502020204030204" pitchFamily="34" charset="0"/>
                <a:ea typeface="Times New Roman" panose="02020603050405020304" pitchFamily="18" charset="0"/>
                <a:cs typeface="Calibri" panose="020F0502020204030204" pitchFamily="34" charset="0"/>
              </a:rPr>
              <a:t>more </a:t>
            </a:r>
            <a:r>
              <a:rPr lang="en-CA" sz="1100" dirty="0">
                <a:latin typeface="Calibri" panose="020F0502020204030204" pitchFamily="34" charset="0"/>
                <a:ea typeface="Times New Roman" panose="02020603050405020304" pitchFamily="18" charset="0"/>
                <a:cs typeface="Calibri" panose="020F0502020204030204" pitchFamily="34" charset="0"/>
              </a:rPr>
              <a:t>smoothly and without any drama.</a:t>
            </a:r>
            <a:endParaRPr lang="en-CA" sz="1100" dirty="0">
              <a:latin typeface="Calibri" panose="020F0502020204030204" pitchFamily="34" charset="0"/>
              <a:ea typeface="Times New Roman" panose="02020603050405020304" pitchFamily="18" charset="0"/>
              <a:cs typeface="Times New Roman" panose="02020603050405020304" pitchFamily="18" charset="0"/>
            </a:endParaRPr>
          </a:p>
          <a:p>
            <a:pPr marL="342900" lvl="0" indent="-342900">
              <a:spcAft>
                <a:spcPts val="0"/>
              </a:spcAft>
              <a:buFont typeface="Symbol" panose="05050102010706020507" pitchFamily="18" charset="2"/>
              <a:buChar char=""/>
            </a:pPr>
            <a:r>
              <a:rPr lang="en-CA" sz="1100" dirty="0">
                <a:latin typeface="Calibri" panose="020F0502020204030204" pitchFamily="34" charset="0"/>
                <a:ea typeface="Times New Roman" panose="02020603050405020304" pitchFamily="18" charset="0"/>
                <a:cs typeface="Times New Roman" panose="02020603050405020304" pitchFamily="18" charset="0"/>
              </a:rPr>
              <a:t>When you receive </a:t>
            </a:r>
            <a:r>
              <a:rPr lang="en-CA" sz="1100" dirty="0">
                <a:solidFill>
                  <a:srgbClr val="4472C4"/>
                </a:solidFill>
                <a:latin typeface="Calibri" panose="020F0502020204030204" pitchFamily="34" charset="0"/>
                <a:ea typeface="Times New Roman" panose="02020603050405020304" pitchFamily="18" charset="0"/>
                <a:cs typeface="Times New Roman" panose="02020603050405020304" pitchFamily="18" charset="0"/>
              </a:rPr>
              <a:t>challenging questions</a:t>
            </a:r>
            <a:r>
              <a:rPr lang="en-CA" sz="1100" dirty="0">
                <a:latin typeface="Calibri" panose="020F0502020204030204" pitchFamily="34" charset="0"/>
                <a:ea typeface="Times New Roman" panose="02020603050405020304" pitchFamily="18" charset="0"/>
                <a:cs typeface="Times New Roman" panose="02020603050405020304" pitchFamily="18" charset="0"/>
              </a:rPr>
              <a:t>:</a:t>
            </a:r>
          </a:p>
          <a:p>
            <a:pPr marL="742950" lvl="1" indent="-285750">
              <a:spcAft>
                <a:spcPts val="0"/>
              </a:spcAft>
              <a:buFont typeface="Courier New" panose="02070309020205020404" pitchFamily="49" charset="0"/>
              <a:buChar char="o"/>
            </a:pPr>
            <a:r>
              <a:rPr lang="en-CA" sz="1100" spc="20" dirty="0">
                <a:latin typeface="Calibri" panose="020F0502020204030204" pitchFamily="34" charset="0"/>
                <a:ea typeface="Times New Roman" panose="02020603050405020304" pitchFamily="18" charset="0"/>
                <a:cs typeface="Times New Roman" panose="02020603050405020304" pitchFamily="18" charset="0"/>
              </a:rPr>
              <a:t>Thank the person asking the question regardless. This is especially effective for neutralizing hostile questions posed because the asker is showing off. By thanking them for the new </a:t>
            </a:r>
            <a:r>
              <a:rPr lang="en-CA" sz="1100" spc="20" dirty="0" smtClean="0">
                <a:latin typeface="Calibri" panose="020F0502020204030204" pitchFamily="34" charset="0"/>
                <a:ea typeface="Times New Roman" panose="02020603050405020304" pitchFamily="18" charset="0"/>
                <a:cs typeface="Times New Roman" panose="02020603050405020304" pitchFamily="18" charset="0"/>
              </a:rPr>
              <a:t>perspective, </a:t>
            </a:r>
            <a:r>
              <a:rPr lang="en-CA" sz="1100" spc="20" dirty="0">
                <a:latin typeface="Calibri" panose="020F0502020204030204" pitchFamily="34" charset="0"/>
                <a:ea typeface="Times New Roman" panose="02020603050405020304" pitchFamily="18" charset="0"/>
                <a:cs typeface="Times New Roman" panose="02020603050405020304" pitchFamily="18" charset="0"/>
              </a:rPr>
              <a:t>they’re providing and promising to look into their perspective in the future. This shows </a:t>
            </a:r>
            <a:r>
              <a:rPr lang="en-CA" sz="1100" spc="20" dirty="0" smtClean="0">
                <a:latin typeface="Calibri" panose="020F0502020204030204" pitchFamily="34" charset="0"/>
                <a:ea typeface="Times New Roman" panose="02020603050405020304" pitchFamily="18" charset="0"/>
                <a:cs typeface="Times New Roman" panose="02020603050405020304" pitchFamily="18" charset="0"/>
              </a:rPr>
              <a:t>openness </a:t>
            </a:r>
            <a:r>
              <a:rPr lang="en-CA" sz="1100" spc="20" dirty="0">
                <a:latin typeface="Calibri" panose="020F0502020204030204" pitchFamily="34" charset="0"/>
                <a:ea typeface="Times New Roman" panose="02020603050405020304" pitchFamily="18" charset="0"/>
                <a:cs typeface="Times New Roman" panose="02020603050405020304" pitchFamily="18" charset="0"/>
              </a:rPr>
              <a:t>without giving up </a:t>
            </a:r>
            <a:r>
              <a:rPr lang="en-CA" sz="1100" spc="20" dirty="0" smtClean="0">
                <a:latin typeface="Calibri" panose="020F0502020204030204" pitchFamily="34" charset="0"/>
                <a:ea typeface="Times New Roman" panose="02020603050405020304" pitchFamily="18" charset="0"/>
                <a:cs typeface="Times New Roman" panose="02020603050405020304" pitchFamily="18" charset="0"/>
              </a:rPr>
              <a:t>authority</a:t>
            </a:r>
            <a:r>
              <a:rPr lang="en-CA" sz="1100" spc="20" dirty="0">
                <a:latin typeface="Calibri" panose="020F0502020204030204" pitchFamily="34" charset="0"/>
                <a:ea typeface="Times New Roman" panose="02020603050405020304" pitchFamily="18" charset="0"/>
                <a:cs typeface="Times New Roman" panose="02020603050405020304" pitchFamily="18" charset="0"/>
              </a:rPr>
              <a:t>.</a:t>
            </a:r>
            <a:endParaRPr lang="en-CA" sz="1100" dirty="0">
              <a:latin typeface="Calibri" panose="020F0502020204030204" pitchFamily="34" charset="0"/>
              <a:ea typeface="Times New Roman" panose="02020603050405020304" pitchFamily="18" charset="0"/>
              <a:cs typeface="Times New Roman" panose="02020603050405020304" pitchFamily="18" charset="0"/>
            </a:endParaRPr>
          </a:p>
          <a:p>
            <a:pPr marL="742950" lvl="1" indent="-285750">
              <a:spcAft>
                <a:spcPts val="0"/>
              </a:spcAft>
              <a:buFont typeface="Courier New" panose="02070309020205020404" pitchFamily="49" charset="0"/>
              <a:buChar char="o"/>
            </a:pPr>
            <a:r>
              <a:rPr lang="en-CA" sz="1100" spc="20" dirty="0">
                <a:latin typeface="Calibri" panose="020F0502020204030204" pitchFamily="34" charset="0"/>
                <a:ea typeface="Times New Roman" panose="02020603050405020304" pitchFamily="18" charset="0"/>
                <a:cs typeface="Times New Roman" panose="02020603050405020304" pitchFamily="18" charset="0"/>
              </a:rPr>
              <a:t>If possible, pivot irrelevant questions toward something else that you </a:t>
            </a:r>
            <a:r>
              <a:rPr lang="en-CA" sz="1100" spc="20" dirty="0" smtClean="0">
                <a:latin typeface="Calibri" panose="020F0502020204030204" pitchFamily="34" charset="0"/>
                <a:ea typeface="Times New Roman" panose="02020603050405020304" pitchFamily="18" charset="0"/>
                <a:cs typeface="Times New Roman" panose="02020603050405020304" pitchFamily="18" charset="0"/>
              </a:rPr>
              <a:t>want </a:t>
            </a:r>
            <a:r>
              <a:rPr lang="en-CA" sz="1100" spc="20" dirty="0">
                <a:latin typeface="Calibri" panose="020F0502020204030204" pitchFamily="34" charset="0"/>
                <a:ea typeface="Times New Roman" panose="02020603050405020304" pitchFamily="18" charset="0"/>
                <a:cs typeface="Times New Roman" panose="02020603050405020304" pitchFamily="18" charset="0"/>
              </a:rPr>
              <a:t>to address in your Q&amp;A, but have not had a chance to. One technique for doing that is to rephrase the question: “If I understand right, the question is…” and then pivot toward the question you want to answer. Also, works for situations when you can’t quite hear the question, the asker has a strong accent, or you’re just not really sure what they’re </a:t>
            </a:r>
            <a:r>
              <a:rPr lang="en-CA" sz="1100" spc="20" dirty="0" smtClean="0">
                <a:latin typeface="Calibri" panose="020F0502020204030204" pitchFamily="34" charset="0"/>
                <a:ea typeface="Times New Roman" panose="02020603050405020304" pitchFamily="18" charset="0"/>
                <a:cs typeface="Times New Roman" panose="02020603050405020304" pitchFamily="18" charset="0"/>
              </a:rPr>
              <a:t>asking.</a:t>
            </a:r>
            <a:endParaRPr lang="en-CA" sz="1100" dirty="0">
              <a:latin typeface="Calibri" panose="020F0502020204030204" pitchFamily="34" charset="0"/>
              <a:ea typeface="Times New Roman" panose="02020603050405020304" pitchFamily="18" charset="0"/>
              <a:cs typeface="Times New Roman" panose="02020603050405020304" pitchFamily="18" charset="0"/>
            </a:endParaRPr>
          </a:p>
          <a:p>
            <a:pPr marL="342900" lvl="0" indent="-342900">
              <a:spcAft>
                <a:spcPts val="0"/>
              </a:spcAft>
              <a:buFont typeface="Symbol" panose="05050102010706020507" pitchFamily="18" charset="2"/>
              <a:buChar char=""/>
            </a:pPr>
            <a:r>
              <a:rPr lang="en-CA" sz="1100" dirty="0">
                <a:solidFill>
                  <a:srgbClr val="4472C4"/>
                </a:solidFill>
                <a:latin typeface="Calibri" panose="020F0502020204030204" pitchFamily="34" charset="0"/>
                <a:ea typeface="Times New Roman" panose="02020603050405020304" pitchFamily="18" charset="0"/>
                <a:cs typeface="Times New Roman" panose="02020603050405020304" pitchFamily="18" charset="0"/>
              </a:rPr>
              <a:t>Don't end the </a:t>
            </a:r>
            <a:r>
              <a:rPr lang="en-CA" sz="1100" dirty="0" smtClean="0">
                <a:solidFill>
                  <a:srgbClr val="4472C4"/>
                </a:solidFill>
                <a:latin typeface="Calibri" panose="020F0502020204030204" pitchFamily="34" charset="0"/>
                <a:ea typeface="Times New Roman" panose="02020603050405020304" pitchFamily="18" charset="0"/>
                <a:cs typeface="Times New Roman" panose="02020603050405020304" pitchFamily="18" charset="0"/>
              </a:rPr>
              <a:t>session with the </a:t>
            </a:r>
            <a:r>
              <a:rPr lang="en-CA" sz="1100" dirty="0">
                <a:solidFill>
                  <a:srgbClr val="4472C4"/>
                </a:solidFill>
                <a:latin typeface="Calibri" panose="020F0502020204030204" pitchFamily="34" charset="0"/>
                <a:ea typeface="Times New Roman" panose="02020603050405020304" pitchFamily="18" charset="0"/>
                <a:cs typeface="Times New Roman" panose="02020603050405020304" pitchFamily="18" charset="0"/>
              </a:rPr>
              <a:t>Q&amp;A.</a:t>
            </a:r>
            <a:r>
              <a:rPr lang="en-CA" sz="1100" dirty="0">
                <a:latin typeface="Calibri" panose="020F0502020204030204" pitchFamily="34" charset="0"/>
                <a:ea typeface="Times New Roman" panose="02020603050405020304" pitchFamily="18" charset="0"/>
                <a:cs typeface="Times New Roman" panose="02020603050405020304" pitchFamily="18" charset="0"/>
              </a:rPr>
              <a:t> </a:t>
            </a:r>
            <a:r>
              <a:rPr lang="en-CA" sz="1100" dirty="0" smtClean="0">
                <a:latin typeface="Calibri" panose="020F0502020204030204" pitchFamily="34" charset="0"/>
                <a:ea typeface="Times New Roman" panose="02020603050405020304" pitchFamily="18" charset="0"/>
                <a:cs typeface="Times New Roman" panose="02020603050405020304" pitchFamily="18" charset="0"/>
              </a:rPr>
              <a:t>Because you don't know how it's going to go, open the Q&amp;A after you're done with your last main point of the session. Put </a:t>
            </a:r>
            <a:r>
              <a:rPr lang="en-CA" sz="1100" dirty="0">
                <a:latin typeface="Calibri" panose="020F0502020204030204" pitchFamily="34" charset="0"/>
                <a:ea typeface="Times New Roman" panose="02020603050405020304" pitchFamily="18" charset="0"/>
                <a:cs typeface="Times New Roman" panose="02020603050405020304" pitchFamily="18" charset="0"/>
              </a:rPr>
              <a:t>your closing remarks AFTER the Q&amp;A. Whether you have one Q&amp;A session at the end or intersperse questions, </a:t>
            </a:r>
            <a:r>
              <a:rPr lang="en-CA" sz="1100" dirty="0" smtClean="0">
                <a:latin typeface="Calibri" panose="020F0502020204030204" pitchFamily="34" charset="0"/>
                <a:ea typeface="Times New Roman" panose="02020603050405020304" pitchFamily="18" charset="0"/>
                <a:cs typeface="Times New Roman" panose="02020603050405020304" pitchFamily="18" charset="0"/>
              </a:rPr>
              <a:t>polling</a:t>
            </a:r>
            <a:r>
              <a:rPr lang="en-CA" sz="1100" dirty="0">
                <a:latin typeface="Calibri" panose="020F0502020204030204" pitchFamily="34" charset="0"/>
                <a:ea typeface="Times New Roman" panose="02020603050405020304" pitchFamily="18" charset="0"/>
                <a:cs typeface="Times New Roman" panose="02020603050405020304" pitchFamily="18" charset="0"/>
              </a:rPr>
              <a:t>, and discussion, delivering your closing remarks after the </a:t>
            </a:r>
            <a:r>
              <a:rPr lang="en-CA" sz="1100" dirty="0">
                <a:solidFill>
                  <a:srgbClr val="4472C4"/>
                </a:solidFill>
                <a:latin typeface="Calibri" panose="020F0502020204030204" pitchFamily="34" charset="0"/>
                <a:ea typeface="Times New Roman" panose="02020603050405020304" pitchFamily="18" charset="0"/>
                <a:cs typeface="Times New Roman" panose="02020603050405020304" pitchFamily="18" charset="0"/>
              </a:rPr>
              <a:t>Q&amp;A reasserts your control</a:t>
            </a:r>
            <a:r>
              <a:rPr lang="en-CA" sz="1100" dirty="0">
                <a:latin typeface="Calibri" panose="020F0502020204030204" pitchFamily="34" charset="0"/>
                <a:ea typeface="Times New Roman" panose="02020603050405020304" pitchFamily="18" charset="0"/>
                <a:cs typeface="Times New Roman" panose="02020603050405020304" pitchFamily="18" charset="0"/>
              </a:rPr>
              <a:t> of the information and allows you to underline the conclusions of the discussion. Just make sure to keep it short and direct!</a:t>
            </a:r>
          </a:p>
          <a:p>
            <a:pPr marL="457200">
              <a:spcAft>
                <a:spcPts val="0"/>
              </a:spcAft>
            </a:pPr>
            <a:r>
              <a:rPr lang="en-CA" sz="1100" dirty="0">
                <a:latin typeface="Calibri" panose="020F0502020204030204" pitchFamily="34" charset="0"/>
                <a:ea typeface="Times New Roman" panose="02020603050405020304" pitchFamily="18" charset="0"/>
                <a:cs typeface="Calibri" panose="020F0502020204030204" pitchFamily="34" charset="0"/>
              </a:rPr>
              <a:t> </a:t>
            </a:r>
            <a:endParaRPr lang="en-CA" sz="1100" dirty="0">
              <a:latin typeface="Calibri" panose="020F050202020403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51193489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latin typeface="Calibri" panose="020F0502020204030204" pitchFamily="34" charset="0"/>
                <a:ea typeface="Times New Roman" panose="02020603050405020304" pitchFamily="18" charset="0"/>
                <a:cs typeface="Times New Roman" panose="02020603050405020304" pitchFamily="18" charset="0"/>
              </a:rPr>
              <a:t>GOOD PRACTICES to facilitate engagement </a:t>
            </a:r>
            <a:r>
              <a:rPr lang="en-CA" dirty="0" smtClean="0">
                <a:latin typeface="Calibri" panose="020F0502020204030204" pitchFamily="34" charset="0"/>
                <a:ea typeface="Times New Roman" panose="02020603050405020304" pitchFamily="18" charset="0"/>
                <a:cs typeface="Times New Roman" panose="02020603050405020304" pitchFamily="18" charset="0"/>
              </a:rPr>
              <a:t>sessions (cont.)</a:t>
            </a:r>
            <a:endParaRPr lang="fr-CA" dirty="0"/>
          </a:p>
        </p:txBody>
      </p:sp>
      <p:sp>
        <p:nvSpPr>
          <p:cNvPr id="3" name="Rectangle 2"/>
          <p:cNvSpPr/>
          <p:nvPr/>
        </p:nvSpPr>
        <p:spPr>
          <a:xfrm>
            <a:off x="508758" y="1586910"/>
            <a:ext cx="11006345" cy="2631490"/>
          </a:xfrm>
          <a:prstGeom prst="rect">
            <a:avLst/>
          </a:prstGeom>
        </p:spPr>
        <p:txBody>
          <a:bodyPr wrap="square">
            <a:spAutoFit/>
          </a:bodyPr>
          <a:lstStyle/>
          <a:p>
            <a:pPr>
              <a:spcAft>
                <a:spcPts val="0"/>
              </a:spcAft>
            </a:pPr>
            <a:r>
              <a:rPr lang="en-CA" sz="1100" b="1" dirty="0">
                <a:latin typeface="Calibri" panose="020F0502020204030204" pitchFamily="34" charset="0"/>
                <a:ea typeface="Times New Roman" panose="02020603050405020304" pitchFamily="18" charset="0"/>
                <a:cs typeface="Calibri" panose="020F0502020204030204" pitchFamily="34" charset="0"/>
              </a:rPr>
              <a:t>USING </a:t>
            </a:r>
            <a:r>
              <a:rPr lang="en-CA" sz="1100" b="1" dirty="0" smtClean="0">
                <a:latin typeface="Calibri" panose="020F0502020204030204" pitchFamily="34" charset="0"/>
                <a:ea typeface="Times New Roman" panose="02020603050405020304" pitchFamily="18" charset="0"/>
                <a:cs typeface="Calibri" panose="020F0502020204030204" pitchFamily="34" charset="0"/>
              </a:rPr>
              <a:t>A SOFTWARE </a:t>
            </a:r>
            <a:r>
              <a:rPr lang="en-CA" sz="1100" b="1" dirty="0">
                <a:latin typeface="Calibri" panose="020F0502020204030204" pitchFamily="34" charset="0"/>
                <a:ea typeface="Times New Roman" panose="02020603050405020304" pitchFamily="18" charset="0"/>
                <a:cs typeface="Calibri" panose="020F0502020204030204" pitchFamily="34" charset="0"/>
              </a:rPr>
              <a:t>OR PLATFORM</a:t>
            </a:r>
            <a:r>
              <a:rPr lang="en-CA" sz="1100" dirty="0">
                <a:latin typeface="Calibri" panose="020F0502020204030204" pitchFamily="34" charset="0"/>
                <a:ea typeface="Times New Roman" panose="02020603050405020304" pitchFamily="18" charset="0"/>
                <a:cs typeface="Calibri" panose="020F0502020204030204" pitchFamily="34" charset="0"/>
              </a:rPr>
              <a:t> to gather feedbacks, questions, comments. </a:t>
            </a:r>
            <a:endParaRPr lang="en-CA" sz="1100" dirty="0">
              <a:latin typeface="Calibri" panose="020F0502020204030204" pitchFamily="34" charset="0"/>
              <a:ea typeface="Times New Roman" panose="02020603050405020304" pitchFamily="18" charset="0"/>
              <a:cs typeface="Times New Roman" panose="02020603050405020304" pitchFamily="18" charset="0"/>
            </a:endParaRPr>
          </a:p>
          <a:p>
            <a:pPr marL="342900" lvl="0" indent="-342900">
              <a:spcAft>
                <a:spcPts val="0"/>
              </a:spcAft>
              <a:buFont typeface="Symbol" panose="05050102010706020507" pitchFamily="18" charset="2"/>
              <a:buChar char=""/>
            </a:pPr>
            <a:r>
              <a:rPr lang="en-CA" sz="1100" dirty="0">
                <a:latin typeface="Calibri" panose="020F0502020204030204" pitchFamily="34" charset="0"/>
                <a:ea typeface="Times New Roman" panose="02020603050405020304" pitchFamily="18" charset="0"/>
                <a:cs typeface="Times New Roman" panose="02020603050405020304" pitchFamily="18" charset="0"/>
              </a:rPr>
              <a:t>Use software that makes interacting with your audience, collecting and fielding questions, a cinch. Invest in tools that allow everyone to submit a question via their mobile devices where participant can share and engage with the organizer (</a:t>
            </a:r>
            <a:r>
              <a:rPr lang="en-CA" sz="1100" dirty="0">
                <a:solidFill>
                  <a:srgbClr val="4472C4"/>
                </a:solidFill>
                <a:latin typeface="Calibri" panose="020F0502020204030204" pitchFamily="34" charset="0"/>
                <a:ea typeface="Times New Roman" panose="02020603050405020304" pitchFamily="18" charset="0"/>
                <a:cs typeface="Times New Roman" panose="02020603050405020304" pitchFamily="18" charset="0"/>
              </a:rPr>
              <a:t>Slido or </a:t>
            </a:r>
            <a:r>
              <a:rPr lang="en-CA" sz="1100" dirty="0" err="1">
                <a:solidFill>
                  <a:srgbClr val="4472C4"/>
                </a:solidFill>
                <a:latin typeface="Calibri" panose="020F0502020204030204" pitchFamily="34" charset="0"/>
                <a:ea typeface="Times New Roman" panose="02020603050405020304" pitchFamily="18" charset="0"/>
                <a:cs typeface="Times New Roman" panose="02020603050405020304" pitchFamily="18" charset="0"/>
              </a:rPr>
              <a:t>Mentimeter</a:t>
            </a:r>
            <a:r>
              <a:rPr lang="en-CA" sz="1100" dirty="0">
                <a:latin typeface="Calibri" panose="020F0502020204030204" pitchFamily="34" charset="0"/>
                <a:ea typeface="Times New Roman" panose="02020603050405020304" pitchFamily="18" charset="0"/>
                <a:cs typeface="Times New Roman" panose="02020603050405020304" pitchFamily="18" charset="0"/>
              </a:rPr>
              <a:t>, </a:t>
            </a:r>
            <a:r>
              <a:rPr lang="en-CA" sz="1100" dirty="0" err="1">
                <a:latin typeface="Calibri" panose="020F0502020204030204" pitchFamily="34" charset="0"/>
                <a:ea typeface="Times New Roman" panose="02020603050405020304" pitchFamily="18" charset="0"/>
                <a:cs typeface="Times New Roman" panose="02020603050405020304" pitchFamily="18" charset="0"/>
              </a:rPr>
              <a:t>etc</a:t>
            </a:r>
            <a:r>
              <a:rPr lang="en-CA" sz="1100" dirty="0">
                <a:latin typeface="Calibri" panose="020F0502020204030204" pitchFamily="34" charset="0"/>
                <a:ea typeface="Times New Roman" panose="02020603050405020304" pitchFamily="18" charset="0"/>
                <a:cs typeface="Times New Roman" panose="02020603050405020304" pitchFamily="18" charset="0"/>
              </a:rPr>
              <a:t>).</a:t>
            </a:r>
          </a:p>
          <a:p>
            <a:pPr marL="342900" lvl="0" indent="-342900">
              <a:spcAft>
                <a:spcPts val="0"/>
              </a:spcAft>
              <a:buFont typeface="Symbol" panose="05050102010706020507" pitchFamily="18" charset="2"/>
              <a:buChar char=""/>
            </a:pPr>
            <a:r>
              <a:rPr lang="en-CA" sz="1100" dirty="0">
                <a:latin typeface="Calibri" panose="020F0502020204030204" pitchFamily="34" charset="0"/>
                <a:ea typeface="Times New Roman" panose="02020603050405020304" pitchFamily="18" charset="0"/>
                <a:cs typeface="Times New Roman" panose="02020603050405020304" pitchFamily="18" charset="0"/>
              </a:rPr>
              <a:t>Use a software or application that will allow your audience to submit questions or answer a poll on their mobile devices. Free trial are often available or free subscription for basic licensing is also available. Otherwise, the organization could also invest into those tools which will also be useful throughout the project to consult and engage with employees. The benefits to engagement are huge. Because these systems allow your audience to answer a question in real time, you can poll your audience and show them the results, sparking true conversation and idea-building.</a:t>
            </a:r>
          </a:p>
          <a:p>
            <a:pPr marL="342900" lvl="0" indent="-342900">
              <a:spcAft>
                <a:spcPts val="0"/>
              </a:spcAft>
              <a:buFont typeface="Symbol" panose="05050102010706020507" pitchFamily="18" charset="2"/>
              <a:buChar char=""/>
            </a:pPr>
            <a:r>
              <a:rPr lang="en-CA" sz="1100" dirty="0">
                <a:latin typeface="Calibri" panose="020F0502020204030204" pitchFamily="34" charset="0"/>
                <a:ea typeface="Times New Roman" panose="02020603050405020304" pitchFamily="18" charset="0"/>
                <a:cs typeface="Times New Roman" panose="02020603050405020304" pitchFamily="18" charset="0"/>
              </a:rPr>
              <a:t>You can deploy questions before, during, and after your talk to create a feedback system that will deliver maximum insight and exchange for you and your audience. You can:</a:t>
            </a:r>
          </a:p>
          <a:p>
            <a:pPr marL="742950" lvl="1" indent="-285750">
              <a:spcAft>
                <a:spcPts val="0"/>
              </a:spcAft>
              <a:buFont typeface="Courier New" panose="02070309020205020404" pitchFamily="49" charset="0"/>
              <a:buChar char="o"/>
            </a:pPr>
            <a:r>
              <a:rPr lang="en-CA" sz="1100" dirty="0">
                <a:latin typeface="Calibri" panose="020F0502020204030204" pitchFamily="34" charset="0"/>
                <a:ea typeface="Times New Roman" panose="02020603050405020304" pitchFamily="18" charset="0"/>
                <a:cs typeface="Times New Roman" panose="02020603050405020304" pitchFamily="18" charset="0"/>
              </a:rPr>
              <a:t>Ask your audience to submit their questions ahead of time. Although you’ll get some unrelated questions, this is a great way to go outside your own head and really figure out what your audience wants to know.</a:t>
            </a:r>
          </a:p>
          <a:p>
            <a:pPr marL="742950" lvl="1" indent="-285750">
              <a:spcAft>
                <a:spcPts val="0"/>
              </a:spcAft>
              <a:buFont typeface="Courier New" panose="02070309020205020404" pitchFamily="49" charset="0"/>
              <a:buChar char="o"/>
            </a:pPr>
            <a:r>
              <a:rPr lang="en-CA" sz="1100" dirty="0">
                <a:latin typeface="Calibri" panose="020F0502020204030204" pitchFamily="34" charset="0"/>
                <a:ea typeface="Times New Roman" panose="02020603050405020304" pitchFamily="18" charset="0"/>
                <a:cs typeface="Times New Roman" panose="02020603050405020304" pitchFamily="18" charset="0"/>
              </a:rPr>
              <a:t>Allow your audience to vote on the submitted questions. By letting people to vote their favorites, you will end up with a list of priority questions ahead of time.</a:t>
            </a:r>
          </a:p>
          <a:p>
            <a:pPr marL="742950" lvl="1" indent="-285750">
              <a:spcAft>
                <a:spcPts val="0"/>
              </a:spcAft>
              <a:buFont typeface="Courier New" panose="02070309020205020404" pitchFamily="49" charset="0"/>
              <a:buChar char="o"/>
            </a:pPr>
            <a:r>
              <a:rPr lang="en-CA" sz="1100" dirty="0">
                <a:latin typeface="Calibri" panose="020F0502020204030204" pitchFamily="34" charset="0"/>
                <a:ea typeface="Times New Roman" panose="02020603050405020304" pitchFamily="18" charset="0"/>
                <a:cs typeface="Times New Roman" panose="02020603050405020304" pitchFamily="18" charset="0"/>
              </a:rPr>
              <a:t>Rewrite two or three of the submitted questions as a multiple-choice poll; administer the polls in the beginning and middle of your talk.</a:t>
            </a:r>
          </a:p>
          <a:p>
            <a:pPr marL="342900" lvl="0" indent="-342900">
              <a:spcAft>
                <a:spcPts val="0"/>
              </a:spcAft>
              <a:buFont typeface="Symbol" panose="05050102010706020507" pitchFamily="18" charset="2"/>
              <a:buChar char=""/>
            </a:pPr>
            <a:r>
              <a:rPr lang="en-CA" sz="1100" dirty="0">
                <a:latin typeface="Calibri" panose="020F0502020204030204" pitchFamily="34" charset="0"/>
                <a:ea typeface="Times New Roman" panose="02020603050405020304" pitchFamily="18" charset="0"/>
                <a:cs typeface="Times New Roman" panose="02020603050405020304" pitchFamily="18" charset="0"/>
              </a:rPr>
              <a:t>The result will be a more democratic, open discussion that will keep your audience fully engaged through the entire presentation period. Most experts agree that the average human will start tuning out after a maximum of 20 minutes; even the most talented speakers will lose their audience for chunks of time. On the other hand, reorganizing your presentation so that it is punctuated by shorter Q&amp;A sessions and group discussions following strategic polling will</a:t>
            </a:r>
            <a:r>
              <a:rPr lang="en-CA" sz="1100" dirty="0">
                <a:latin typeface="Calibri" panose="020F0502020204030204" pitchFamily="34" charset="0"/>
                <a:ea typeface="Times New Roman" panose="02020603050405020304" pitchFamily="18" charset="0"/>
                <a:cs typeface="Calibri" panose="020F0502020204030204" pitchFamily="34" charset="0"/>
              </a:rPr>
              <a:t> keep your audience on their toes the entire time!</a:t>
            </a:r>
            <a:endParaRPr lang="en-CA" sz="1100" dirty="0">
              <a:latin typeface="Calibri" panose="020F050202020403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58215066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fr-CA" dirty="0" smtClean="0"/>
              <a:t>How to use </a:t>
            </a:r>
            <a:r>
              <a:rPr lang="fr-CA" dirty="0" err="1" smtClean="0"/>
              <a:t>this</a:t>
            </a:r>
            <a:r>
              <a:rPr lang="fr-CA" dirty="0" smtClean="0"/>
              <a:t> document</a:t>
            </a:r>
            <a:endParaRPr lang="fr-CA" dirty="0"/>
          </a:p>
        </p:txBody>
      </p:sp>
      <p:sp>
        <p:nvSpPr>
          <p:cNvPr id="7" name="TextBox 6"/>
          <p:cNvSpPr txBox="1"/>
          <p:nvPr/>
        </p:nvSpPr>
        <p:spPr>
          <a:xfrm>
            <a:off x="508759" y="1735493"/>
            <a:ext cx="10217021" cy="1754326"/>
          </a:xfrm>
          <a:prstGeom prst="rect">
            <a:avLst/>
          </a:prstGeom>
          <a:noFill/>
        </p:spPr>
        <p:txBody>
          <a:bodyPr wrap="square" rtlCol="0">
            <a:spAutoFit/>
          </a:bodyPr>
          <a:lstStyle/>
          <a:p>
            <a:pPr marL="285750" indent="-285750">
              <a:buFont typeface="Arial" panose="020B0604020202020204" pitchFamily="34" charset="0"/>
              <a:buChar char="•"/>
            </a:pPr>
            <a:r>
              <a:rPr lang="en-CA" dirty="0" smtClean="0">
                <a:solidFill>
                  <a:schemeClr val="tx2"/>
                </a:solidFill>
              </a:rPr>
              <a:t>Ensure </a:t>
            </a:r>
            <a:r>
              <a:rPr lang="en-CA" dirty="0">
                <a:solidFill>
                  <a:schemeClr val="tx2"/>
                </a:solidFill>
              </a:rPr>
              <a:t>that the project sponsor or champion for the workplace modernization initiative will be </a:t>
            </a:r>
            <a:r>
              <a:rPr lang="en-CA" dirty="0" smtClean="0">
                <a:solidFill>
                  <a:schemeClr val="tx2"/>
                </a:solidFill>
              </a:rPr>
              <a:t>participating</a:t>
            </a:r>
          </a:p>
          <a:p>
            <a:pPr marL="285750" indent="-285750">
              <a:buFont typeface="Arial" panose="020B0604020202020204" pitchFamily="34" charset="0"/>
              <a:buChar char="•"/>
            </a:pPr>
            <a:r>
              <a:rPr lang="en-CA" dirty="0" smtClean="0">
                <a:solidFill>
                  <a:schemeClr val="tx2"/>
                </a:solidFill>
              </a:rPr>
              <a:t>Plan to have </a:t>
            </a:r>
            <a:r>
              <a:rPr lang="en-CA" dirty="0">
                <a:solidFill>
                  <a:schemeClr val="tx2"/>
                </a:solidFill>
              </a:rPr>
              <a:t>the most senior leader kick off the session to inspire and demonstrate </a:t>
            </a:r>
            <a:r>
              <a:rPr lang="en-CA" dirty="0" smtClean="0">
                <a:solidFill>
                  <a:schemeClr val="tx2"/>
                </a:solidFill>
              </a:rPr>
              <a:t>support </a:t>
            </a:r>
          </a:p>
          <a:p>
            <a:pPr marL="285750" indent="-285750">
              <a:buFont typeface="Arial" panose="020B0604020202020204" pitchFamily="34" charset="0"/>
              <a:buChar char="•"/>
            </a:pPr>
            <a:r>
              <a:rPr lang="en-CA" dirty="0" smtClean="0">
                <a:solidFill>
                  <a:schemeClr val="tx2"/>
                </a:solidFill>
              </a:rPr>
              <a:t>For </a:t>
            </a:r>
            <a:r>
              <a:rPr lang="en-CA" dirty="0">
                <a:solidFill>
                  <a:schemeClr val="tx2"/>
                </a:solidFill>
              </a:rPr>
              <a:t>best practices on how to manage engagement </a:t>
            </a:r>
            <a:r>
              <a:rPr lang="en-CA" dirty="0" smtClean="0">
                <a:solidFill>
                  <a:schemeClr val="tx2"/>
                </a:solidFill>
              </a:rPr>
              <a:t>sessions</a:t>
            </a:r>
            <a:r>
              <a:rPr lang="en-CA" dirty="0">
                <a:solidFill>
                  <a:schemeClr val="tx2"/>
                </a:solidFill>
              </a:rPr>
              <a:t>, please refer to the</a:t>
            </a:r>
            <a:r>
              <a:rPr lang="en-CA" b="1" dirty="0">
                <a:solidFill>
                  <a:schemeClr val="tx2"/>
                </a:solidFill>
              </a:rPr>
              <a:t> Annex section </a:t>
            </a:r>
            <a:r>
              <a:rPr lang="en-CA" dirty="0">
                <a:solidFill>
                  <a:schemeClr val="tx2"/>
                </a:solidFill>
              </a:rPr>
              <a:t>of this presentation.</a:t>
            </a:r>
          </a:p>
          <a:p>
            <a:endParaRPr lang="fr-CA" dirty="0"/>
          </a:p>
        </p:txBody>
      </p:sp>
    </p:spTree>
    <p:extLst>
      <p:ext uri="{BB962C8B-B14F-4D97-AF65-F5344CB8AC3E}">
        <p14:creationId xmlns:p14="http://schemas.microsoft.com/office/powerpoint/2010/main" val="1247570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Opening session</a:t>
            </a:r>
            <a:endParaRPr lang="en-CA" dirty="0"/>
          </a:p>
        </p:txBody>
      </p:sp>
      <p:sp>
        <p:nvSpPr>
          <p:cNvPr id="3" name="TextBox 2"/>
          <p:cNvSpPr txBox="1"/>
          <p:nvPr/>
        </p:nvSpPr>
        <p:spPr>
          <a:xfrm>
            <a:off x="754131" y="2380146"/>
            <a:ext cx="10515600" cy="2031325"/>
          </a:xfrm>
          <a:prstGeom prst="rect">
            <a:avLst/>
          </a:prstGeom>
          <a:noFill/>
        </p:spPr>
        <p:txBody>
          <a:bodyPr wrap="square" rtlCol="0">
            <a:spAutoFit/>
          </a:bodyPr>
          <a:lstStyle/>
          <a:p>
            <a:pPr marL="285750" indent="-285750">
              <a:buFont typeface="Arial" panose="020B0604020202020204" pitchFamily="34" charset="0"/>
              <a:buChar char="•"/>
            </a:pPr>
            <a:r>
              <a:rPr lang="en-CA" dirty="0" smtClean="0">
                <a:solidFill>
                  <a:srgbClr val="000000"/>
                </a:solidFill>
              </a:rPr>
              <a:t>Opening session or other ceremony typical of your organization culture</a:t>
            </a:r>
          </a:p>
          <a:p>
            <a:pPr marL="285750" indent="-285750">
              <a:buFont typeface="Arial" panose="020B0604020202020204" pitchFamily="34" charset="0"/>
              <a:buChar char="•"/>
            </a:pPr>
            <a:r>
              <a:rPr lang="en-CA" dirty="0" smtClean="0">
                <a:solidFill>
                  <a:srgbClr val="000000"/>
                </a:solidFill>
              </a:rPr>
              <a:t>Logistics </a:t>
            </a:r>
          </a:p>
          <a:p>
            <a:pPr marL="285750" indent="-285750">
              <a:buFont typeface="Arial" panose="020B0604020202020204" pitchFamily="34" charset="0"/>
              <a:buChar char="•"/>
            </a:pPr>
            <a:r>
              <a:rPr lang="en-CA" dirty="0" smtClean="0">
                <a:solidFill>
                  <a:srgbClr val="000000"/>
                </a:solidFill>
              </a:rPr>
              <a:t>Information on the use of a voting application such as Slido</a:t>
            </a:r>
          </a:p>
          <a:p>
            <a:pPr marL="285750" indent="-285750">
              <a:buFont typeface="Arial" panose="020B0604020202020204" pitchFamily="34" charset="0"/>
              <a:buChar char="•"/>
            </a:pPr>
            <a:r>
              <a:rPr lang="en-CA" dirty="0" smtClean="0">
                <a:solidFill>
                  <a:srgbClr val="000000"/>
                </a:solidFill>
              </a:rPr>
              <a:t>Rules of engagement</a:t>
            </a:r>
          </a:p>
          <a:p>
            <a:pPr marL="285750" indent="-285750">
              <a:buFont typeface="Arial" panose="020B0604020202020204" pitchFamily="34" charset="0"/>
              <a:buChar char="•"/>
            </a:pPr>
            <a:r>
              <a:rPr lang="en-CA" dirty="0" smtClean="0">
                <a:solidFill>
                  <a:srgbClr val="000000"/>
                </a:solidFill>
              </a:rPr>
              <a:t>Agenda</a:t>
            </a:r>
          </a:p>
          <a:p>
            <a:pPr marL="285750" indent="-285750">
              <a:buFont typeface="Arial" panose="020B0604020202020204" pitchFamily="34" charset="0"/>
              <a:buChar char="•"/>
            </a:pPr>
            <a:r>
              <a:rPr lang="en-CA" dirty="0" smtClean="0">
                <a:solidFill>
                  <a:srgbClr val="000000"/>
                </a:solidFill>
              </a:rPr>
              <a:t>Other</a:t>
            </a:r>
          </a:p>
          <a:p>
            <a:endParaRPr lang="en-CA" dirty="0">
              <a:solidFill>
                <a:srgbClr val="000000"/>
              </a:solidFill>
            </a:endParaRPr>
          </a:p>
        </p:txBody>
      </p:sp>
      <p:sp>
        <p:nvSpPr>
          <p:cNvPr id="4" name="Rectangle 3"/>
          <p:cNvSpPr/>
          <p:nvPr/>
        </p:nvSpPr>
        <p:spPr>
          <a:xfrm>
            <a:off x="655846" y="1581267"/>
            <a:ext cx="2817438" cy="369332"/>
          </a:xfrm>
          <a:prstGeom prst="rect">
            <a:avLst/>
          </a:prstGeom>
        </p:spPr>
        <p:txBody>
          <a:bodyPr wrap="none">
            <a:spAutoFit/>
          </a:bodyPr>
          <a:lstStyle/>
          <a:p>
            <a:r>
              <a:rPr lang="en-CA" dirty="0" smtClean="0">
                <a:solidFill>
                  <a:schemeClr val="tx2"/>
                </a:solidFill>
                <a:cs typeface="Arial" pitchFamily="34" charset="0"/>
              </a:rPr>
              <a:t>[Can include the following:­] </a:t>
            </a:r>
            <a:endParaRPr lang="fr-CA" dirty="0">
              <a:solidFill>
                <a:schemeClr val="tx2"/>
              </a:solidFill>
            </a:endParaRPr>
          </a:p>
        </p:txBody>
      </p:sp>
    </p:spTree>
    <p:extLst>
      <p:ext uri="{BB962C8B-B14F-4D97-AF65-F5344CB8AC3E}">
        <p14:creationId xmlns:p14="http://schemas.microsoft.com/office/powerpoint/2010/main" val="536408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normAutofit/>
          </a:bodyPr>
          <a:lstStyle/>
          <a:p>
            <a:r>
              <a:rPr lang="en-US" dirty="0" smtClean="0">
                <a:solidFill>
                  <a:srgbClr val="FF0000"/>
                </a:solidFill>
                <a:latin typeface="+mn-lt"/>
              </a:rPr>
              <a:t>EXAMPLE</a:t>
            </a:r>
            <a:r>
              <a:rPr lang="en-US" dirty="0" smtClean="0">
                <a:latin typeface="+mn-lt"/>
              </a:rPr>
              <a:t>: RULES OF ENGAGEMENT</a:t>
            </a:r>
            <a:endParaRPr lang="en-CA" dirty="0">
              <a:latin typeface="+mn-lt"/>
            </a:endParaRPr>
          </a:p>
        </p:txBody>
      </p:sp>
      <p:sp>
        <p:nvSpPr>
          <p:cNvPr id="9" name="TextBox 8"/>
          <p:cNvSpPr txBox="1"/>
          <p:nvPr/>
        </p:nvSpPr>
        <p:spPr>
          <a:xfrm>
            <a:off x="1685534" y="1974260"/>
            <a:ext cx="3173754" cy="461665"/>
          </a:xfrm>
          <a:prstGeom prst="rect">
            <a:avLst/>
          </a:prstGeom>
          <a:noFill/>
        </p:spPr>
        <p:txBody>
          <a:bodyPr wrap="none" rtlCol="0">
            <a:spAutoFit/>
          </a:bodyPr>
          <a:lstStyle/>
          <a:p>
            <a:r>
              <a:rPr lang="en-US" sz="2400" b="1" dirty="0" smtClean="0">
                <a:solidFill>
                  <a:schemeClr val="accent5">
                    <a:lumMod val="60000"/>
                    <a:lumOff val="40000"/>
                  </a:schemeClr>
                </a:solidFill>
                <a:cs typeface="Arial" panose="020B0604020202020204" pitchFamily="34" charset="0"/>
              </a:rPr>
              <a:t>MUTE</a:t>
            </a:r>
            <a:r>
              <a:rPr lang="en-US" sz="2400" dirty="0" smtClean="0">
                <a:cs typeface="Arial" panose="020B0604020202020204" pitchFamily="34" charset="0"/>
              </a:rPr>
              <a:t> your microphone</a:t>
            </a:r>
            <a:endParaRPr lang="en-CA" sz="2400" dirty="0">
              <a:cs typeface="Arial" panose="020B0604020202020204" pitchFamily="34" charset="0"/>
            </a:endParaRPr>
          </a:p>
        </p:txBody>
      </p:sp>
      <p:sp>
        <p:nvSpPr>
          <p:cNvPr id="10" name="TextBox 9"/>
          <p:cNvSpPr txBox="1"/>
          <p:nvPr/>
        </p:nvSpPr>
        <p:spPr>
          <a:xfrm>
            <a:off x="8049606" y="1974260"/>
            <a:ext cx="3099310" cy="461665"/>
          </a:xfrm>
          <a:prstGeom prst="rect">
            <a:avLst/>
          </a:prstGeom>
          <a:noFill/>
        </p:spPr>
        <p:txBody>
          <a:bodyPr wrap="none" rtlCol="0">
            <a:spAutoFit/>
          </a:bodyPr>
          <a:lstStyle/>
          <a:p>
            <a:r>
              <a:rPr lang="en-US" sz="2400" b="1" dirty="0" smtClean="0">
                <a:solidFill>
                  <a:schemeClr val="accent5">
                    <a:lumMod val="60000"/>
                    <a:lumOff val="40000"/>
                  </a:schemeClr>
                </a:solidFill>
                <a:cs typeface="Arial" panose="020B0604020202020204" pitchFamily="34" charset="0"/>
              </a:rPr>
              <a:t>TURN</a:t>
            </a:r>
            <a:r>
              <a:rPr lang="en-US" sz="2400" dirty="0" smtClean="0">
                <a:cs typeface="Arial" panose="020B0604020202020204" pitchFamily="34" charset="0"/>
              </a:rPr>
              <a:t> </a:t>
            </a:r>
            <a:r>
              <a:rPr lang="en-US" sz="2400" b="1" dirty="0" smtClean="0">
                <a:solidFill>
                  <a:schemeClr val="accent5">
                    <a:lumMod val="60000"/>
                    <a:lumOff val="40000"/>
                  </a:schemeClr>
                </a:solidFill>
                <a:cs typeface="Arial" panose="020B0604020202020204" pitchFamily="34" charset="0"/>
              </a:rPr>
              <a:t>OFF</a:t>
            </a:r>
            <a:r>
              <a:rPr lang="en-US" sz="2400" dirty="0" smtClean="0">
                <a:cs typeface="Arial" panose="020B0604020202020204" pitchFamily="34" charset="0"/>
              </a:rPr>
              <a:t> your camera</a:t>
            </a:r>
            <a:endParaRPr lang="en-CA" sz="2400" dirty="0">
              <a:cs typeface="Arial" panose="020B0604020202020204" pitchFamily="34" charset="0"/>
            </a:endParaRPr>
          </a:p>
        </p:txBody>
      </p:sp>
      <p:sp>
        <p:nvSpPr>
          <p:cNvPr id="12" name="TextBox 11"/>
          <p:cNvSpPr txBox="1"/>
          <p:nvPr/>
        </p:nvSpPr>
        <p:spPr>
          <a:xfrm>
            <a:off x="3004970" y="3140239"/>
            <a:ext cx="4725093" cy="1569660"/>
          </a:xfrm>
          <a:prstGeom prst="rect">
            <a:avLst/>
          </a:prstGeom>
          <a:noFill/>
        </p:spPr>
        <p:txBody>
          <a:bodyPr wrap="square" rtlCol="0">
            <a:spAutoFit/>
          </a:bodyPr>
          <a:lstStyle/>
          <a:p>
            <a:r>
              <a:rPr lang="en-US" sz="2400" dirty="0">
                <a:cs typeface="Arial" panose="020B0604020202020204" pitchFamily="34" charset="0"/>
              </a:rPr>
              <a:t>a</a:t>
            </a:r>
            <a:r>
              <a:rPr lang="en-US" sz="2400" dirty="0" smtClean="0">
                <a:cs typeface="Arial" panose="020B0604020202020204" pitchFamily="34" charset="0"/>
              </a:rPr>
              <a:t>sk </a:t>
            </a:r>
            <a:r>
              <a:rPr lang="en-US" sz="2400" b="1" dirty="0" smtClean="0">
                <a:solidFill>
                  <a:schemeClr val="accent5">
                    <a:lumMod val="60000"/>
                    <a:lumOff val="40000"/>
                  </a:schemeClr>
                </a:solidFill>
                <a:cs typeface="Arial" panose="020B0604020202020204" pitchFamily="34" charset="0"/>
              </a:rPr>
              <a:t>QUESTIONS </a:t>
            </a:r>
            <a:r>
              <a:rPr lang="en-US" sz="2400" dirty="0" smtClean="0">
                <a:cs typeface="Arial" panose="020B0604020202020204" pitchFamily="34" charset="0"/>
              </a:rPr>
              <a:t>and leave </a:t>
            </a:r>
            <a:r>
              <a:rPr lang="en-US" sz="2400" b="1" dirty="0" smtClean="0">
                <a:solidFill>
                  <a:schemeClr val="accent5">
                    <a:lumMod val="60000"/>
                    <a:lumOff val="40000"/>
                  </a:schemeClr>
                </a:solidFill>
                <a:cs typeface="Arial" panose="020B0604020202020204" pitchFamily="34" charset="0"/>
              </a:rPr>
              <a:t>COMMENTS</a:t>
            </a:r>
            <a:r>
              <a:rPr lang="en-US" sz="2400" dirty="0" smtClean="0">
                <a:cs typeface="Arial" panose="020B0604020202020204" pitchFamily="34" charset="0"/>
              </a:rPr>
              <a:t> directly in the MS Teams chat panel</a:t>
            </a:r>
          </a:p>
          <a:p>
            <a:endParaRPr lang="en-US" sz="2400" dirty="0">
              <a:latin typeface="Arial" panose="020B0604020202020204" pitchFamily="34" charset="0"/>
              <a:cs typeface="Arial" panose="020B0604020202020204" pitchFamily="34" charset="0"/>
            </a:endParaRPr>
          </a:p>
        </p:txBody>
      </p:sp>
      <p:sp>
        <p:nvSpPr>
          <p:cNvPr id="2" name="Rectangle 1"/>
          <p:cNvSpPr/>
          <p:nvPr/>
        </p:nvSpPr>
        <p:spPr>
          <a:xfrm>
            <a:off x="3004970" y="4543832"/>
            <a:ext cx="5572500" cy="1538883"/>
          </a:xfrm>
          <a:prstGeom prst="rect">
            <a:avLst/>
          </a:prstGeom>
        </p:spPr>
        <p:txBody>
          <a:bodyPr wrap="square">
            <a:spAutoFit/>
          </a:bodyPr>
          <a:lstStyle/>
          <a:p>
            <a:r>
              <a:rPr lang="en-US" sz="2400" dirty="0" smtClean="0">
                <a:cs typeface="Arial" panose="020B0604020202020204" pitchFamily="34" charset="0"/>
              </a:rPr>
              <a:t>or….</a:t>
            </a:r>
          </a:p>
          <a:p>
            <a:endParaRPr lang="en-US" sz="2400" dirty="0">
              <a:cs typeface="Arial" panose="020B0604020202020204" pitchFamily="34" charset="0"/>
            </a:endParaRPr>
          </a:p>
          <a:p>
            <a:r>
              <a:rPr lang="en-US" sz="2400" dirty="0" smtClean="0">
                <a:cs typeface="Arial" panose="020B0604020202020204" pitchFamily="34" charset="0"/>
              </a:rPr>
              <a:t>send </a:t>
            </a:r>
            <a:r>
              <a:rPr lang="en-US" sz="2400" dirty="0">
                <a:cs typeface="Arial" panose="020B0604020202020204" pitchFamily="34" charset="0"/>
              </a:rPr>
              <a:t>an e-mail </a:t>
            </a:r>
            <a:r>
              <a:rPr lang="en-US" sz="2400" dirty="0" smtClean="0">
                <a:cs typeface="Arial" panose="020B0604020202020204" pitchFamily="34" charset="0"/>
              </a:rPr>
              <a:t>to: </a:t>
            </a:r>
          </a:p>
          <a:p>
            <a:r>
              <a:rPr lang="en-US" sz="2200" b="1" dirty="0" smtClean="0">
                <a:solidFill>
                  <a:schemeClr val="accent5">
                    <a:lumMod val="60000"/>
                    <a:lumOff val="40000"/>
                  </a:schemeClr>
                </a:solidFill>
                <a:cs typeface="Arial" panose="020B0604020202020204" pitchFamily="34" charset="0"/>
              </a:rPr>
              <a:t> </a:t>
            </a:r>
            <a:endParaRPr lang="en-US" sz="2200" b="1" dirty="0">
              <a:solidFill>
                <a:schemeClr val="accent5">
                  <a:lumMod val="60000"/>
                  <a:lumOff val="40000"/>
                </a:schemeClr>
              </a:solidFill>
              <a:cs typeface="Arial" panose="020B0604020202020204" pitchFamily="34" charset="0"/>
            </a:endParaRPr>
          </a:p>
        </p:txBody>
      </p:sp>
      <p:sp>
        <p:nvSpPr>
          <p:cNvPr id="7" name="Freeform 6" descr="MicOff Icon"/>
          <p:cNvSpPr>
            <a:spLocks noEditPoints="1"/>
          </p:cNvSpPr>
          <p:nvPr/>
        </p:nvSpPr>
        <p:spPr bwMode="auto">
          <a:xfrm>
            <a:off x="654656" y="1664093"/>
            <a:ext cx="733371" cy="989665"/>
          </a:xfrm>
          <a:custGeom>
            <a:avLst/>
            <a:gdLst>
              <a:gd name="T0" fmla="*/ 92 w 145"/>
              <a:gd name="T1" fmla="*/ 6 h 174"/>
              <a:gd name="T2" fmla="*/ 73 w 145"/>
              <a:gd name="T3" fmla="*/ 0 h 174"/>
              <a:gd name="T4" fmla="*/ 49 w 145"/>
              <a:gd name="T5" fmla="*/ 9 h 174"/>
              <a:gd name="T6" fmla="*/ 39 w 145"/>
              <a:gd name="T7" fmla="*/ 33 h 174"/>
              <a:gd name="T8" fmla="*/ 39 w 145"/>
              <a:gd name="T9" fmla="*/ 87 h 174"/>
              <a:gd name="T10" fmla="*/ 104 w 145"/>
              <a:gd name="T11" fmla="*/ 22 h 174"/>
              <a:gd name="T12" fmla="*/ 92 w 145"/>
              <a:gd name="T13" fmla="*/ 6 h 174"/>
              <a:gd name="T14" fmla="*/ 145 w 145"/>
              <a:gd name="T15" fmla="*/ 33 h 174"/>
              <a:gd name="T16" fmla="*/ 144 w 145"/>
              <a:gd name="T17" fmla="*/ 31 h 174"/>
              <a:gd name="T18" fmla="*/ 136 w 145"/>
              <a:gd name="T19" fmla="*/ 22 h 174"/>
              <a:gd name="T20" fmla="*/ 133 w 145"/>
              <a:gd name="T21" fmla="*/ 21 h 174"/>
              <a:gd name="T22" fmla="*/ 131 w 145"/>
              <a:gd name="T23" fmla="*/ 22 h 174"/>
              <a:gd name="T24" fmla="*/ 1 w 145"/>
              <a:gd name="T25" fmla="*/ 152 h 174"/>
              <a:gd name="T26" fmla="*/ 0 w 145"/>
              <a:gd name="T27" fmla="*/ 154 h 174"/>
              <a:gd name="T28" fmla="*/ 1 w 145"/>
              <a:gd name="T29" fmla="*/ 157 h 174"/>
              <a:gd name="T30" fmla="*/ 10 w 145"/>
              <a:gd name="T31" fmla="*/ 165 h 174"/>
              <a:gd name="T32" fmla="*/ 12 w 145"/>
              <a:gd name="T33" fmla="*/ 166 h 174"/>
              <a:gd name="T34" fmla="*/ 15 w 145"/>
              <a:gd name="T35" fmla="*/ 165 h 174"/>
              <a:gd name="T36" fmla="*/ 41 w 145"/>
              <a:gd name="T37" fmla="*/ 139 h 174"/>
              <a:gd name="T38" fmla="*/ 66 w 145"/>
              <a:gd name="T39" fmla="*/ 147 h 174"/>
              <a:gd name="T40" fmla="*/ 66 w 145"/>
              <a:gd name="T41" fmla="*/ 161 h 174"/>
              <a:gd name="T42" fmla="*/ 39 w 145"/>
              <a:gd name="T43" fmla="*/ 161 h 174"/>
              <a:gd name="T44" fmla="*/ 34 w 145"/>
              <a:gd name="T45" fmla="*/ 163 h 174"/>
              <a:gd name="T46" fmla="*/ 32 w 145"/>
              <a:gd name="T47" fmla="*/ 168 h 174"/>
              <a:gd name="T48" fmla="*/ 34 w 145"/>
              <a:gd name="T49" fmla="*/ 172 h 174"/>
              <a:gd name="T50" fmla="*/ 39 w 145"/>
              <a:gd name="T51" fmla="*/ 174 h 174"/>
              <a:gd name="T52" fmla="*/ 106 w 145"/>
              <a:gd name="T53" fmla="*/ 174 h 174"/>
              <a:gd name="T54" fmla="*/ 111 w 145"/>
              <a:gd name="T55" fmla="*/ 172 h 174"/>
              <a:gd name="T56" fmla="*/ 113 w 145"/>
              <a:gd name="T57" fmla="*/ 168 h 174"/>
              <a:gd name="T58" fmla="*/ 111 w 145"/>
              <a:gd name="T59" fmla="*/ 163 h 174"/>
              <a:gd name="T60" fmla="*/ 106 w 145"/>
              <a:gd name="T61" fmla="*/ 161 h 174"/>
              <a:gd name="T62" fmla="*/ 79 w 145"/>
              <a:gd name="T63" fmla="*/ 161 h 174"/>
              <a:gd name="T64" fmla="*/ 79 w 145"/>
              <a:gd name="T65" fmla="*/ 147 h 174"/>
              <a:gd name="T66" fmla="*/ 118 w 145"/>
              <a:gd name="T67" fmla="*/ 127 h 174"/>
              <a:gd name="T68" fmla="*/ 133 w 145"/>
              <a:gd name="T69" fmla="*/ 87 h 174"/>
              <a:gd name="T70" fmla="*/ 133 w 145"/>
              <a:gd name="T71" fmla="*/ 74 h 174"/>
              <a:gd name="T72" fmla="*/ 131 w 145"/>
              <a:gd name="T73" fmla="*/ 69 h 174"/>
              <a:gd name="T74" fmla="*/ 126 w 145"/>
              <a:gd name="T75" fmla="*/ 67 h 174"/>
              <a:gd name="T76" fmla="*/ 122 w 145"/>
              <a:gd name="T77" fmla="*/ 69 h 174"/>
              <a:gd name="T78" fmla="*/ 120 w 145"/>
              <a:gd name="T79" fmla="*/ 74 h 174"/>
              <a:gd name="T80" fmla="*/ 120 w 145"/>
              <a:gd name="T81" fmla="*/ 87 h 174"/>
              <a:gd name="T82" fmla="*/ 106 w 145"/>
              <a:gd name="T83" fmla="*/ 120 h 174"/>
              <a:gd name="T84" fmla="*/ 73 w 145"/>
              <a:gd name="T85" fmla="*/ 134 h 174"/>
              <a:gd name="T86" fmla="*/ 51 w 145"/>
              <a:gd name="T87" fmla="*/ 129 h 174"/>
              <a:gd name="T88" fmla="*/ 61 w 145"/>
              <a:gd name="T89" fmla="*/ 119 h 174"/>
              <a:gd name="T90" fmla="*/ 73 w 145"/>
              <a:gd name="T91" fmla="*/ 121 h 174"/>
              <a:gd name="T92" fmla="*/ 96 w 145"/>
              <a:gd name="T93" fmla="*/ 111 h 174"/>
              <a:gd name="T94" fmla="*/ 106 w 145"/>
              <a:gd name="T95" fmla="*/ 87 h 174"/>
              <a:gd name="T96" fmla="*/ 106 w 145"/>
              <a:gd name="T97" fmla="*/ 74 h 174"/>
              <a:gd name="T98" fmla="*/ 144 w 145"/>
              <a:gd name="T99" fmla="*/ 36 h 174"/>
              <a:gd name="T100" fmla="*/ 145 w 145"/>
              <a:gd name="T101" fmla="*/ 33 h 174"/>
              <a:gd name="T102" fmla="*/ 26 w 145"/>
              <a:gd name="T103" fmla="*/ 87 h 174"/>
              <a:gd name="T104" fmla="*/ 26 w 145"/>
              <a:gd name="T105" fmla="*/ 74 h 174"/>
              <a:gd name="T106" fmla="*/ 24 w 145"/>
              <a:gd name="T107" fmla="*/ 69 h 174"/>
              <a:gd name="T108" fmla="*/ 19 w 145"/>
              <a:gd name="T109" fmla="*/ 67 h 174"/>
              <a:gd name="T110" fmla="*/ 14 w 145"/>
              <a:gd name="T111" fmla="*/ 69 h 174"/>
              <a:gd name="T112" fmla="*/ 12 w 145"/>
              <a:gd name="T113" fmla="*/ 74 h 174"/>
              <a:gd name="T114" fmla="*/ 12 w 145"/>
              <a:gd name="T115" fmla="*/ 87 h 174"/>
              <a:gd name="T116" fmla="*/ 17 w 145"/>
              <a:gd name="T117" fmla="*/ 110 h 174"/>
              <a:gd name="T118" fmla="*/ 27 w 145"/>
              <a:gd name="T119" fmla="*/ 99 h 174"/>
              <a:gd name="T120" fmla="*/ 26 w 145"/>
              <a:gd name="T121" fmla="*/ 87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5" h="174">
                <a:moveTo>
                  <a:pt x="92" y="6"/>
                </a:moveTo>
                <a:cubicBezTo>
                  <a:pt x="86" y="2"/>
                  <a:pt x="80" y="0"/>
                  <a:pt x="73" y="0"/>
                </a:cubicBezTo>
                <a:cubicBezTo>
                  <a:pt x="63" y="0"/>
                  <a:pt x="56" y="3"/>
                  <a:pt x="49" y="9"/>
                </a:cubicBezTo>
                <a:cubicBezTo>
                  <a:pt x="42" y="16"/>
                  <a:pt x="39" y="24"/>
                  <a:pt x="39" y="33"/>
                </a:cubicBezTo>
                <a:cubicBezTo>
                  <a:pt x="39" y="87"/>
                  <a:pt x="39" y="87"/>
                  <a:pt x="39" y="87"/>
                </a:cubicBezTo>
                <a:cubicBezTo>
                  <a:pt x="104" y="22"/>
                  <a:pt x="104" y="22"/>
                  <a:pt x="104" y="22"/>
                </a:cubicBezTo>
                <a:cubicBezTo>
                  <a:pt x="102" y="15"/>
                  <a:pt x="98" y="10"/>
                  <a:pt x="92" y="6"/>
                </a:cubicBezTo>
                <a:close/>
                <a:moveTo>
                  <a:pt x="145" y="33"/>
                </a:moveTo>
                <a:cubicBezTo>
                  <a:pt x="144" y="31"/>
                  <a:pt x="144" y="31"/>
                  <a:pt x="144" y="31"/>
                </a:cubicBezTo>
                <a:cubicBezTo>
                  <a:pt x="136" y="22"/>
                  <a:pt x="136" y="22"/>
                  <a:pt x="136" y="22"/>
                </a:cubicBezTo>
                <a:cubicBezTo>
                  <a:pt x="133" y="21"/>
                  <a:pt x="133" y="21"/>
                  <a:pt x="133" y="21"/>
                </a:cubicBezTo>
                <a:cubicBezTo>
                  <a:pt x="131" y="22"/>
                  <a:pt x="131" y="22"/>
                  <a:pt x="131" y="22"/>
                </a:cubicBezTo>
                <a:cubicBezTo>
                  <a:pt x="1" y="152"/>
                  <a:pt x="1" y="152"/>
                  <a:pt x="1" y="152"/>
                </a:cubicBezTo>
                <a:cubicBezTo>
                  <a:pt x="0" y="154"/>
                  <a:pt x="0" y="154"/>
                  <a:pt x="0" y="154"/>
                </a:cubicBezTo>
                <a:cubicBezTo>
                  <a:pt x="1" y="157"/>
                  <a:pt x="1" y="157"/>
                  <a:pt x="1" y="157"/>
                </a:cubicBezTo>
                <a:cubicBezTo>
                  <a:pt x="10" y="165"/>
                  <a:pt x="10" y="165"/>
                  <a:pt x="10" y="165"/>
                </a:cubicBezTo>
                <a:cubicBezTo>
                  <a:pt x="12" y="166"/>
                  <a:pt x="12" y="166"/>
                  <a:pt x="12" y="166"/>
                </a:cubicBezTo>
                <a:cubicBezTo>
                  <a:pt x="15" y="165"/>
                  <a:pt x="15" y="165"/>
                  <a:pt x="15" y="165"/>
                </a:cubicBezTo>
                <a:cubicBezTo>
                  <a:pt x="41" y="139"/>
                  <a:pt x="41" y="139"/>
                  <a:pt x="41" y="139"/>
                </a:cubicBezTo>
                <a:cubicBezTo>
                  <a:pt x="49" y="143"/>
                  <a:pt x="57" y="146"/>
                  <a:pt x="66" y="147"/>
                </a:cubicBezTo>
                <a:cubicBezTo>
                  <a:pt x="66" y="161"/>
                  <a:pt x="66" y="161"/>
                  <a:pt x="66" y="161"/>
                </a:cubicBezTo>
                <a:cubicBezTo>
                  <a:pt x="39" y="161"/>
                  <a:pt x="39" y="161"/>
                  <a:pt x="39" y="161"/>
                </a:cubicBezTo>
                <a:cubicBezTo>
                  <a:pt x="37" y="161"/>
                  <a:pt x="36" y="162"/>
                  <a:pt x="34" y="163"/>
                </a:cubicBezTo>
                <a:cubicBezTo>
                  <a:pt x="33" y="164"/>
                  <a:pt x="32" y="166"/>
                  <a:pt x="32" y="168"/>
                </a:cubicBezTo>
                <a:cubicBezTo>
                  <a:pt x="32" y="170"/>
                  <a:pt x="33" y="171"/>
                  <a:pt x="34" y="172"/>
                </a:cubicBezTo>
                <a:cubicBezTo>
                  <a:pt x="36" y="174"/>
                  <a:pt x="37" y="174"/>
                  <a:pt x="39" y="174"/>
                </a:cubicBezTo>
                <a:cubicBezTo>
                  <a:pt x="106" y="174"/>
                  <a:pt x="106" y="174"/>
                  <a:pt x="106" y="174"/>
                </a:cubicBezTo>
                <a:cubicBezTo>
                  <a:pt x="108" y="174"/>
                  <a:pt x="110" y="174"/>
                  <a:pt x="111" y="172"/>
                </a:cubicBezTo>
                <a:cubicBezTo>
                  <a:pt x="112" y="171"/>
                  <a:pt x="113" y="170"/>
                  <a:pt x="113" y="168"/>
                </a:cubicBezTo>
                <a:cubicBezTo>
                  <a:pt x="113" y="166"/>
                  <a:pt x="112" y="164"/>
                  <a:pt x="111" y="163"/>
                </a:cubicBezTo>
                <a:cubicBezTo>
                  <a:pt x="110" y="162"/>
                  <a:pt x="108" y="161"/>
                  <a:pt x="106" y="161"/>
                </a:cubicBezTo>
                <a:cubicBezTo>
                  <a:pt x="79" y="161"/>
                  <a:pt x="79" y="161"/>
                  <a:pt x="79" y="161"/>
                </a:cubicBezTo>
                <a:cubicBezTo>
                  <a:pt x="79" y="147"/>
                  <a:pt x="79" y="147"/>
                  <a:pt x="79" y="147"/>
                </a:cubicBezTo>
                <a:cubicBezTo>
                  <a:pt x="95" y="145"/>
                  <a:pt x="107" y="139"/>
                  <a:pt x="118" y="127"/>
                </a:cubicBezTo>
                <a:cubicBezTo>
                  <a:pt x="128" y="116"/>
                  <a:pt x="133" y="103"/>
                  <a:pt x="133" y="87"/>
                </a:cubicBezTo>
                <a:cubicBezTo>
                  <a:pt x="133" y="74"/>
                  <a:pt x="133" y="74"/>
                  <a:pt x="133" y="74"/>
                </a:cubicBezTo>
                <a:cubicBezTo>
                  <a:pt x="133" y="72"/>
                  <a:pt x="133" y="70"/>
                  <a:pt x="131" y="69"/>
                </a:cubicBezTo>
                <a:cubicBezTo>
                  <a:pt x="130" y="68"/>
                  <a:pt x="128" y="67"/>
                  <a:pt x="126" y="67"/>
                </a:cubicBezTo>
                <a:cubicBezTo>
                  <a:pt x="125" y="67"/>
                  <a:pt x="123" y="68"/>
                  <a:pt x="122" y="69"/>
                </a:cubicBezTo>
                <a:cubicBezTo>
                  <a:pt x="120" y="70"/>
                  <a:pt x="120" y="72"/>
                  <a:pt x="120" y="74"/>
                </a:cubicBezTo>
                <a:cubicBezTo>
                  <a:pt x="120" y="87"/>
                  <a:pt x="120" y="87"/>
                  <a:pt x="120" y="87"/>
                </a:cubicBezTo>
                <a:cubicBezTo>
                  <a:pt x="120" y="100"/>
                  <a:pt x="115" y="111"/>
                  <a:pt x="106" y="120"/>
                </a:cubicBezTo>
                <a:cubicBezTo>
                  <a:pt x="97" y="129"/>
                  <a:pt x="86" y="134"/>
                  <a:pt x="73" y="134"/>
                </a:cubicBezTo>
                <a:cubicBezTo>
                  <a:pt x="65" y="134"/>
                  <a:pt x="58" y="132"/>
                  <a:pt x="51" y="129"/>
                </a:cubicBezTo>
                <a:cubicBezTo>
                  <a:pt x="61" y="119"/>
                  <a:pt x="61" y="119"/>
                  <a:pt x="61" y="119"/>
                </a:cubicBezTo>
                <a:cubicBezTo>
                  <a:pt x="65" y="120"/>
                  <a:pt x="69" y="121"/>
                  <a:pt x="73" y="121"/>
                </a:cubicBezTo>
                <a:cubicBezTo>
                  <a:pt x="82" y="121"/>
                  <a:pt x="90" y="117"/>
                  <a:pt x="96" y="111"/>
                </a:cubicBezTo>
                <a:cubicBezTo>
                  <a:pt x="103" y="104"/>
                  <a:pt x="106" y="96"/>
                  <a:pt x="106" y="87"/>
                </a:cubicBezTo>
                <a:cubicBezTo>
                  <a:pt x="106" y="74"/>
                  <a:pt x="106" y="74"/>
                  <a:pt x="106" y="74"/>
                </a:cubicBezTo>
                <a:cubicBezTo>
                  <a:pt x="144" y="36"/>
                  <a:pt x="144" y="36"/>
                  <a:pt x="144" y="36"/>
                </a:cubicBezTo>
                <a:lnTo>
                  <a:pt x="145" y="33"/>
                </a:lnTo>
                <a:close/>
                <a:moveTo>
                  <a:pt x="26" y="87"/>
                </a:moveTo>
                <a:cubicBezTo>
                  <a:pt x="26" y="74"/>
                  <a:pt x="26" y="74"/>
                  <a:pt x="26" y="74"/>
                </a:cubicBezTo>
                <a:cubicBezTo>
                  <a:pt x="26" y="72"/>
                  <a:pt x="25" y="70"/>
                  <a:pt x="24" y="69"/>
                </a:cubicBezTo>
                <a:cubicBezTo>
                  <a:pt x="22" y="68"/>
                  <a:pt x="21" y="67"/>
                  <a:pt x="19" y="67"/>
                </a:cubicBezTo>
                <a:cubicBezTo>
                  <a:pt x="17" y="67"/>
                  <a:pt x="15" y="68"/>
                  <a:pt x="14" y="69"/>
                </a:cubicBezTo>
                <a:cubicBezTo>
                  <a:pt x="13" y="70"/>
                  <a:pt x="12" y="72"/>
                  <a:pt x="12" y="74"/>
                </a:cubicBezTo>
                <a:cubicBezTo>
                  <a:pt x="12" y="87"/>
                  <a:pt x="12" y="87"/>
                  <a:pt x="12" y="87"/>
                </a:cubicBezTo>
                <a:cubicBezTo>
                  <a:pt x="12" y="95"/>
                  <a:pt x="14" y="102"/>
                  <a:pt x="17" y="110"/>
                </a:cubicBezTo>
                <a:cubicBezTo>
                  <a:pt x="27" y="99"/>
                  <a:pt x="27" y="99"/>
                  <a:pt x="27" y="99"/>
                </a:cubicBezTo>
                <a:cubicBezTo>
                  <a:pt x="26" y="95"/>
                  <a:pt x="26" y="91"/>
                  <a:pt x="26" y="87"/>
                </a:cubicBezTo>
                <a:close/>
              </a:path>
            </a:pathLst>
          </a:custGeom>
          <a:solidFill>
            <a:schemeClr val="tx1">
              <a:lumMod val="50000"/>
              <a:lumOff val="50000"/>
            </a:schemeClr>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8" name="Freeform 7" descr="Video Icon"/>
          <p:cNvSpPr>
            <a:spLocks/>
          </p:cNvSpPr>
          <p:nvPr/>
        </p:nvSpPr>
        <p:spPr bwMode="auto">
          <a:xfrm>
            <a:off x="6729330" y="1846974"/>
            <a:ext cx="1022769" cy="623905"/>
          </a:xfrm>
          <a:custGeom>
            <a:avLst/>
            <a:gdLst>
              <a:gd name="T0" fmla="*/ 883 w 903"/>
              <a:gd name="T1" fmla="*/ 18 h 644"/>
              <a:gd name="T2" fmla="*/ 870 w 903"/>
              <a:gd name="T3" fmla="*/ 16 h 644"/>
              <a:gd name="T4" fmla="*/ 848 w 903"/>
              <a:gd name="T5" fmla="*/ 25 h 644"/>
              <a:gd name="T6" fmla="*/ 645 w 903"/>
              <a:gd name="T7" fmla="*/ 228 h 644"/>
              <a:gd name="T8" fmla="*/ 645 w 903"/>
              <a:gd name="T9" fmla="*/ 144 h 644"/>
              <a:gd name="T10" fmla="*/ 602 w 903"/>
              <a:gd name="T11" fmla="*/ 42 h 644"/>
              <a:gd name="T12" fmla="*/ 500 w 903"/>
              <a:gd name="T13" fmla="*/ 0 h 644"/>
              <a:gd name="T14" fmla="*/ 145 w 903"/>
              <a:gd name="T15" fmla="*/ 0 h 644"/>
              <a:gd name="T16" fmla="*/ 43 w 903"/>
              <a:gd name="T17" fmla="*/ 42 h 644"/>
              <a:gd name="T18" fmla="*/ 0 w 903"/>
              <a:gd name="T19" fmla="*/ 144 h 644"/>
              <a:gd name="T20" fmla="*/ 0 w 903"/>
              <a:gd name="T21" fmla="*/ 499 h 644"/>
              <a:gd name="T22" fmla="*/ 43 w 903"/>
              <a:gd name="T23" fmla="*/ 602 h 644"/>
              <a:gd name="T24" fmla="*/ 145 w 903"/>
              <a:gd name="T25" fmla="*/ 644 h 644"/>
              <a:gd name="T26" fmla="*/ 500 w 903"/>
              <a:gd name="T27" fmla="*/ 644 h 644"/>
              <a:gd name="T28" fmla="*/ 602 w 903"/>
              <a:gd name="T29" fmla="*/ 602 h 644"/>
              <a:gd name="T30" fmla="*/ 645 w 903"/>
              <a:gd name="T31" fmla="*/ 499 h 644"/>
              <a:gd name="T32" fmla="*/ 645 w 903"/>
              <a:gd name="T33" fmla="*/ 416 h 644"/>
              <a:gd name="T34" fmla="*/ 848 w 903"/>
              <a:gd name="T35" fmla="*/ 619 h 644"/>
              <a:gd name="T36" fmla="*/ 870 w 903"/>
              <a:gd name="T37" fmla="*/ 628 h 644"/>
              <a:gd name="T38" fmla="*/ 883 w 903"/>
              <a:gd name="T39" fmla="*/ 626 h 644"/>
              <a:gd name="T40" fmla="*/ 903 w 903"/>
              <a:gd name="T41" fmla="*/ 596 h 644"/>
              <a:gd name="T42" fmla="*/ 903 w 903"/>
              <a:gd name="T43" fmla="*/ 48 h 644"/>
              <a:gd name="T44" fmla="*/ 883 w 903"/>
              <a:gd name="T45" fmla="*/ 18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03" h="644">
                <a:moveTo>
                  <a:pt x="883" y="18"/>
                </a:moveTo>
                <a:cubicBezTo>
                  <a:pt x="870" y="16"/>
                  <a:pt x="870" y="16"/>
                  <a:pt x="870" y="16"/>
                </a:cubicBezTo>
                <a:cubicBezTo>
                  <a:pt x="861" y="16"/>
                  <a:pt x="854" y="19"/>
                  <a:pt x="848" y="25"/>
                </a:cubicBezTo>
                <a:cubicBezTo>
                  <a:pt x="645" y="228"/>
                  <a:pt x="645" y="228"/>
                  <a:pt x="645" y="228"/>
                </a:cubicBezTo>
                <a:cubicBezTo>
                  <a:pt x="645" y="144"/>
                  <a:pt x="645" y="144"/>
                  <a:pt x="645" y="144"/>
                </a:cubicBezTo>
                <a:cubicBezTo>
                  <a:pt x="645" y="105"/>
                  <a:pt x="631" y="70"/>
                  <a:pt x="602" y="42"/>
                </a:cubicBezTo>
                <a:cubicBezTo>
                  <a:pt x="574" y="14"/>
                  <a:pt x="540" y="0"/>
                  <a:pt x="500" y="0"/>
                </a:cubicBezTo>
                <a:cubicBezTo>
                  <a:pt x="145" y="0"/>
                  <a:pt x="145" y="0"/>
                  <a:pt x="145" y="0"/>
                </a:cubicBezTo>
                <a:cubicBezTo>
                  <a:pt x="105" y="0"/>
                  <a:pt x="71" y="14"/>
                  <a:pt x="43" y="42"/>
                </a:cubicBezTo>
                <a:cubicBezTo>
                  <a:pt x="14" y="70"/>
                  <a:pt x="0" y="105"/>
                  <a:pt x="0" y="144"/>
                </a:cubicBezTo>
                <a:cubicBezTo>
                  <a:pt x="0" y="499"/>
                  <a:pt x="0" y="499"/>
                  <a:pt x="0" y="499"/>
                </a:cubicBezTo>
                <a:cubicBezTo>
                  <a:pt x="0" y="539"/>
                  <a:pt x="14" y="573"/>
                  <a:pt x="43" y="602"/>
                </a:cubicBezTo>
                <a:cubicBezTo>
                  <a:pt x="71" y="630"/>
                  <a:pt x="105" y="644"/>
                  <a:pt x="145" y="644"/>
                </a:cubicBezTo>
                <a:cubicBezTo>
                  <a:pt x="500" y="644"/>
                  <a:pt x="500" y="644"/>
                  <a:pt x="500" y="644"/>
                </a:cubicBezTo>
                <a:cubicBezTo>
                  <a:pt x="540" y="644"/>
                  <a:pt x="574" y="630"/>
                  <a:pt x="602" y="602"/>
                </a:cubicBezTo>
                <a:cubicBezTo>
                  <a:pt x="631" y="573"/>
                  <a:pt x="645" y="539"/>
                  <a:pt x="645" y="499"/>
                </a:cubicBezTo>
                <a:cubicBezTo>
                  <a:pt x="645" y="416"/>
                  <a:pt x="645" y="416"/>
                  <a:pt x="645" y="416"/>
                </a:cubicBezTo>
                <a:cubicBezTo>
                  <a:pt x="848" y="619"/>
                  <a:pt x="848" y="619"/>
                  <a:pt x="848" y="619"/>
                </a:cubicBezTo>
                <a:cubicBezTo>
                  <a:pt x="854" y="625"/>
                  <a:pt x="861" y="628"/>
                  <a:pt x="870" y="628"/>
                </a:cubicBezTo>
                <a:cubicBezTo>
                  <a:pt x="883" y="626"/>
                  <a:pt x="883" y="626"/>
                  <a:pt x="883" y="626"/>
                </a:cubicBezTo>
                <a:cubicBezTo>
                  <a:pt x="896" y="620"/>
                  <a:pt x="903" y="610"/>
                  <a:pt x="903" y="596"/>
                </a:cubicBezTo>
                <a:cubicBezTo>
                  <a:pt x="903" y="48"/>
                  <a:pt x="903" y="48"/>
                  <a:pt x="903" y="48"/>
                </a:cubicBezTo>
                <a:cubicBezTo>
                  <a:pt x="903" y="34"/>
                  <a:pt x="896" y="24"/>
                  <a:pt x="883" y="18"/>
                </a:cubicBezTo>
                <a:close/>
              </a:path>
            </a:pathLst>
          </a:custGeom>
          <a:solidFill>
            <a:schemeClr val="tx1">
              <a:lumMod val="50000"/>
              <a:lumOff val="50000"/>
            </a:schemeClr>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11" name="Freeform 10" descr="Comments Icon"/>
          <p:cNvSpPr>
            <a:spLocks noEditPoints="1"/>
          </p:cNvSpPr>
          <p:nvPr/>
        </p:nvSpPr>
        <p:spPr bwMode="auto">
          <a:xfrm>
            <a:off x="1904140" y="3252523"/>
            <a:ext cx="1030878" cy="975760"/>
          </a:xfrm>
          <a:custGeom>
            <a:avLst/>
            <a:gdLst>
              <a:gd name="T0" fmla="*/ 331 w 331"/>
              <a:gd name="T1" fmla="*/ 142 h 260"/>
              <a:gd name="T2" fmla="*/ 279 w 331"/>
              <a:gd name="T3" fmla="*/ 66 h 260"/>
              <a:gd name="T4" fmla="*/ 271 w 331"/>
              <a:gd name="T5" fmla="*/ 141 h 260"/>
              <a:gd name="T6" fmla="*/ 187 w 331"/>
              <a:gd name="T7" fmla="*/ 204 h 260"/>
              <a:gd name="T8" fmla="*/ 114 w 331"/>
              <a:gd name="T9" fmla="*/ 212 h 260"/>
              <a:gd name="T10" fmla="*/ 233 w 331"/>
              <a:gd name="T11" fmla="*/ 233 h 260"/>
              <a:gd name="T12" fmla="*/ 301 w 331"/>
              <a:gd name="T13" fmla="*/ 260 h 260"/>
              <a:gd name="T14" fmla="*/ 307 w 331"/>
              <a:gd name="T15" fmla="*/ 254 h 260"/>
              <a:gd name="T16" fmla="*/ 307 w 331"/>
              <a:gd name="T17" fmla="*/ 252 h 260"/>
              <a:gd name="T18" fmla="*/ 306 w 331"/>
              <a:gd name="T19" fmla="*/ 250 h 260"/>
              <a:gd name="T20" fmla="*/ 305 w 331"/>
              <a:gd name="T21" fmla="*/ 248 h 260"/>
              <a:gd name="T22" fmla="*/ 303 w 331"/>
              <a:gd name="T23" fmla="*/ 246 h 260"/>
              <a:gd name="T24" fmla="*/ 294 w 331"/>
              <a:gd name="T25" fmla="*/ 236 h 260"/>
              <a:gd name="T26" fmla="*/ 285 w 331"/>
              <a:gd name="T27" fmla="*/ 224 h 260"/>
              <a:gd name="T28" fmla="*/ 318 w 331"/>
              <a:gd name="T29" fmla="*/ 183 h 260"/>
              <a:gd name="T30" fmla="*/ 0 w 331"/>
              <a:gd name="T31" fmla="*/ 94 h 260"/>
              <a:gd name="T32" fmla="*/ 49 w 331"/>
              <a:gd name="T33" fmla="*/ 168 h 260"/>
              <a:gd name="T34" fmla="*/ 41 w 331"/>
              <a:gd name="T35" fmla="*/ 184 h 260"/>
              <a:gd name="T36" fmla="*/ 32 w 331"/>
              <a:gd name="T37" fmla="*/ 194 h 260"/>
              <a:gd name="T38" fmla="*/ 27 w 331"/>
              <a:gd name="T39" fmla="*/ 200 h 260"/>
              <a:gd name="T40" fmla="*/ 25 w 331"/>
              <a:gd name="T41" fmla="*/ 202 h 260"/>
              <a:gd name="T42" fmla="*/ 24 w 331"/>
              <a:gd name="T43" fmla="*/ 204 h 260"/>
              <a:gd name="T44" fmla="*/ 24 w 331"/>
              <a:gd name="T45" fmla="*/ 206 h 260"/>
              <a:gd name="T46" fmla="*/ 26 w 331"/>
              <a:gd name="T47" fmla="*/ 211 h 260"/>
              <a:gd name="T48" fmla="*/ 30 w 331"/>
              <a:gd name="T49" fmla="*/ 213 h 260"/>
              <a:gd name="T50" fmla="*/ 98 w 331"/>
              <a:gd name="T51" fmla="*/ 186 h 260"/>
              <a:gd name="T52" fmla="*/ 195 w 331"/>
              <a:gd name="T53" fmla="*/ 176 h 260"/>
              <a:gd name="T54" fmla="*/ 260 w 331"/>
              <a:gd name="T55" fmla="*/ 94 h 260"/>
              <a:gd name="T56" fmla="*/ 195 w 331"/>
              <a:gd name="T57" fmla="*/ 13 h 260"/>
              <a:gd name="T58" fmla="*/ 65 w 331"/>
              <a:gd name="T59" fmla="*/ 13 h 260"/>
              <a:gd name="T60" fmla="*/ 222 w 331"/>
              <a:gd name="T61" fmla="*/ 59 h 260"/>
              <a:gd name="T62" fmla="*/ 222 w 331"/>
              <a:gd name="T63" fmla="*/ 130 h 260"/>
              <a:gd name="T64" fmla="*/ 130 w 331"/>
              <a:gd name="T65" fmla="*/ 165 h 260"/>
              <a:gd name="T66" fmla="*/ 92 w 331"/>
              <a:gd name="T67" fmla="*/ 161 h 260"/>
              <a:gd name="T68" fmla="*/ 72 w 331"/>
              <a:gd name="T69" fmla="*/ 174 h 260"/>
              <a:gd name="T70" fmla="*/ 61 w 331"/>
              <a:gd name="T71" fmla="*/ 148 h 260"/>
              <a:gd name="T72" fmla="*/ 24 w 331"/>
              <a:gd name="T73" fmla="*/ 94 h 260"/>
              <a:gd name="T74" fmla="*/ 77 w 331"/>
              <a:gd name="T75" fmla="*/ 33 h 260"/>
              <a:gd name="T76" fmla="*/ 183 w 331"/>
              <a:gd name="T77" fmla="*/ 33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31" h="260">
                <a:moveTo>
                  <a:pt x="318" y="183"/>
                </a:moveTo>
                <a:cubicBezTo>
                  <a:pt x="326" y="170"/>
                  <a:pt x="331" y="156"/>
                  <a:pt x="331" y="142"/>
                </a:cubicBezTo>
                <a:cubicBezTo>
                  <a:pt x="331" y="127"/>
                  <a:pt x="326" y="112"/>
                  <a:pt x="317" y="99"/>
                </a:cubicBezTo>
                <a:cubicBezTo>
                  <a:pt x="308" y="86"/>
                  <a:pt x="295" y="75"/>
                  <a:pt x="279" y="66"/>
                </a:cubicBezTo>
                <a:cubicBezTo>
                  <a:pt x="282" y="76"/>
                  <a:pt x="284" y="85"/>
                  <a:pt x="284" y="94"/>
                </a:cubicBezTo>
                <a:cubicBezTo>
                  <a:pt x="284" y="111"/>
                  <a:pt x="279" y="127"/>
                  <a:pt x="271" y="141"/>
                </a:cubicBezTo>
                <a:cubicBezTo>
                  <a:pt x="263" y="156"/>
                  <a:pt x="251" y="169"/>
                  <a:pt x="236" y="180"/>
                </a:cubicBezTo>
                <a:cubicBezTo>
                  <a:pt x="221" y="191"/>
                  <a:pt x="205" y="199"/>
                  <a:pt x="187" y="204"/>
                </a:cubicBezTo>
                <a:cubicBezTo>
                  <a:pt x="169" y="210"/>
                  <a:pt x="150" y="213"/>
                  <a:pt x="130" y="213"/>
                </a:cubicBezTo>
                <a:cubicBezTo>
                  <a:pt x="126" y="213"/>
                  <a:pt x="121" y="212"/>
                  <a:pt x="114" y="212"/>
                </a:cubicBezTo>
                <a:cubicBezTo>
                  <a:pt x="138" y="228"/>
                  <a:pt x="168" y="236"/>
                  <a:pt x="201" y="236"/>
                </a:cubicBezTo>
                <a:cubicBezTo>
                  <a:pt x="211" y="236"/>
                  <a:pt x="222" y="235"/>
                  <a:pt x="233" y="233"/>
                </a:cubicBezTo>
                <a:cubicBezTo>
                  <a:pt x="249" y="244"/>
                  <a:pt x="266" y="252"/>
                  <a:pt x="285" y="257"/>
                </a:cubicBezTo>
                <a:cubicBezTo>
                  <a:pt x="289" y="258"/>
                  <a:pt x="294" y="259"/>
                  <a:pt x="301" y="260"/>
                </a:cubicBezTo>
                <a:cubicBezTo>
                  <a:pt x="305" y="259"/>
                  <a:pt x="305" y="259"/>
                  <a:pt x="305" y="259"/>
                </a:cubicBezTo>
                <a:cubicBezTo>
                  <a:pt x="307" y="254"/>
                  <a:pt x="307" y="254"/>
                  <a:pt x="307" y="254"/>
                </a:cubicBezTo>
                <a:cubicBezTo>
                  <a:pt x="307" y="253"/>
                  <a:pt x="307" y="253"/>
                  <a:pt x="307" y="253"/>
                </a:cubicBezTo>
                <a:cubicBezTo>
                  <a:pt x="307" y="252"/>
                  <a:pt x="307" y="252"/>
                  <a:pt x="307" y="252"/>
                </a:cubicBezTo>
                <a:cubicBezTo>
                  <a:pt x="307" y="251"/>
                  <a:pt x="307" y="251"/>
                  <a:pt x="307" y="251"/>
                </a:cubicBezTo>
                <a:cubicBezTo>
                  <a:pt x="306" y="250"/>
                  <a:pt x="306" y="250"/>
                  <a:pt x="306" y="250"/>
                </a:cubicBezTo>
                <a:cubicBezTo>
                  <a:pt x="306" y="249"/>
                  <a:pt x="306" y="249"/>
                  <a:pt x="306" y="249"/>
                </a:cubicBezTo>
                <a:cubicBezTo>
                  <a:pt x="305" y="248"/>
                  <a:pt x="305" y="248"/>
                  <a:pt x="305" y="248"/>
                </a:cubicBezTo>
                <a:cubicBezTo>
                  <a:pt x="304" y="247"/>
                  <a:pt x="304" y="247"/>
                  <a:pt x="304" y="247"/>
                </a:cubicBezTo>
                <a:cubicBezTo>
                  <a:pt x="303" y="246"/>
                  <a:pt x="303" y="246"/>
                  <a:pt x="303" y="246"/>
                </a:cubicBezTo>
                <a:cubicBezTo>
                  <a:pt x="299" y="242"/>
                  <a:pt x="299" y="242"/>
                  <a:pt x="299" y="242"/>
                </a:cubicBezTo>
                <a:cubicBezTo>
                  <a:pt x="294" y="236"/>
                  <a:pt x="294" y="236"/>
                  <a:pt x="294" y="236"/>
                </a:cubicBezTo>
                <a:cubicBezTo>
                  <a:pt x="290" y="231"/>
                  <a:pt x="290" y="231"/>
                  <a:pt x="290" y="231"/>
                </a:cubicBezTo>
                <a:cubicBezTo>
                  <a:pt x="285" y="224"/>
                  <a:pt x="285" y="224"/>
                  <a:pt x="285" y="224"/>
                </a:cubicBezTo>
                <a:cubicBezTo>
                  <a:pt x="284" y="221"/>
                  <a:pt x="283" y="219"/>
                  <a:pt x="282" y="216"/>
                </a:cubicBezTo>
                <a:cubicBezTo>
                  <a:pt x="297" y="207"/>
                  <a:pt x="309" y="196"/>
                  <a:pt x="318" y="183"/>
                </a:cubicBezTo>
                <a:close/>
                <a:moveTo>
                  <a:pt x="17" y="47"/>
                </a:moveTo>
                <a:cubicBezTo>
                  <a:pt x="6" y="62"/>
                  <a:pt x="0" y="77"/>
                  <a:pt x="0" y="94"/>
                </a:cubicBezTo>
                <a:cubicBezTo>
                  <a:pt x="0" y="109"/>
                  <a:pt x="4" y="123"/>
                  <a:pt x="13" y="136"/>
                </a:cubicBezTo>
                <a:cubicBezTo>
                  <a:pt x="22" y="149"/>
                  <a:pt x="34" y="160"/>
                  <a:pt x="49" y="168"/>
                </a:cubicBezTo>
                <a:cubicBezTo>
                  <a:pt x="48" y="171"/>
                  <a:pt x="47" y="174"/>
                  <a:pt x="45" y="177"/>
                </a:cubicBezTo>
                <a:cubicBezTo>
                  <a:pt x="41" y="184"/>
                  <a:pt x="41" y="184"/>
                  <a:pt x="41" y="184"/>
                </a:cubicBezTo>
                <a:cubicBezTo>
                  <a:pt x="37" y="189"/>
                  <a:pt x="37" y="189"/>
                  <a:pt x="37" y="189"/>
                </a:cubicBezTo>
                <a:cubicBezTo>
                  <a:pt x="32" y="194"/>
                  <a:pt x="32" y="194"/>
                  <a:pt x="32" y="194"/>
                </a:cubicBezTo>
                <a:cubicBezTo>
                  <a:pt x="28" y="199"/>
                  <a:pt x="28" y="199"/>
                  <a:pt x="28" y="199"/>
                </a:cubicBezTo>
                <a:cubicBezTo>
                  <a:pt x="27" y="200"/>
                  <a:pt x="27" y="200"/>
                  <a:pt x="27" y="200"/>
                </a:cubicBezTo>
                <a:cubicBezTo>
                  <a:pt x="26" y="201"/>
                  <a:pt x="26" y="201"/>
                  <a:pt x="26" y="201"/>
                </a:cubicBezTo>
                <a:cubicBezTo>
                  <a:pt x="25" y="202"/>
                  <a:pt x="25" y="202"/>
                  <a:pt x="25" y="202"/>
                </a:cubicBezTo>
                <a:cubicBezTo>
                  <a:pt x="25" y="203"/>
                  <a:pt x="25" y="203"/>
                  <a:pt x="25" y="203"/>
                </a:cubicBezTo>
                <a:cubicBezTo>
                  <a:pt x="24" y="204"/>
                  <a:pt x="24" y="204"/>
                  <a:pt x="24" y="204"/>
                </a:cubicBezTo>
                <a:cubicBezTo>
                  <a:pt x="24" y="205"/>
                  <a:pt x="24" y="205"/>
                  <a:pt x="24" y="205"/>
                </a:cubicBezTo>
                <a:cubicBezTo>
                  <a:pt x="24" y="206"/>
                  <a:pt x="24" y="206"/>
                  <a:pt x="24" y="206"/>
                </a:cubicBezTo>
                <a:cubicBezTo>
                  <a:pt x="24" y="207"/>
                  <a:pt x="24" y="207"/>
                  <a:pt x="24" y="207"/>
                </a:cubicBezTo>
                <a:cubicBezTo>
                  <a:pt x="26" y="211"/>
                  <a:pt x="26" y="211"/>
                  <a:pt x="26" y="211"/>
                </a:cubicBezTo>
                <a:cubicBezTo>
                  <a:pt x="30" y="213"/>
                  <a:pt x="30" y="213"/>
                  <a:pt x="30" y="213"/>
                </a:cubicBezTo>
                <a:cubicBezTo>
                  <a:pt x="30" y="213"/>
                  <a:pt x="30" y="213"/>
                  <a:pt x="30" y="213"/>
                </a:cubicBezTo>
                <a:cubicBezTo>
                  <a:pt x="36" y="212"/>
                  <a:pt x="42" y="211"/>
                  <a:pt x="46" y="210"/>
                </a:cubicBezTo>
                <a:cubicBezTo>
                  <a:pt x="65" y="205"/>
                  <a:pt x="82" y="197"/>
                  <a:pt x="98" y="186"/>
                </a:cubicBezTo>
                <a:cubicBezTo>
                  <a:pt x="109" y="188"/>
                  <a:pt x="119" y="189"/>
                  <a:pt x="130" y="189"/>
                </a:cubicBezTo>
                <a:cubicBezTo>
                  <a:pt x="153" y="189"/>
                  <a:pt x="175" y="185"/>
                  <a:pt x="195" y="176"/>
                </a:cubicBezTo>
                <a:cubicBezTo>
                  <a:pt x="215" y="168"/>
                  <a:pt x="231" y="156"/>
                  <a:pt x="243" y="142"/>
                </a:cubicBezTo>
                <a:cubicBezTo>
                  <a:pt x="254" y="127"/>
                  <a:pt x="260" y="112"/>
                  <a:pt x="260" y="94"/>
                </a:cubicBezTo>
                <a:cubicBezTo>
                  <a:pt x="260" y="77"/>
                  <a:pt x="254" y="62"/>
                  <a:pt x="243" y="47"/>
                </a:cubicBezTo>
                <a:cubicBezTo>
                  <a:pt x="231" y="32"/>
                  <a:pt x="215" y="21"/>
                  <a:pt x="195" y="13"/>
                </a:cubicBezTo>
                <a:cubicBezTo>
                  <a:pt x="175" y="4"/>
                  <a:pt x="153" y="0"/>
                  <a:pt x="130" y="0"/>
                </a:cubicBezTo>
                <a:cubicBezTo>
                  <a:pt x="106" y="0"/>
                  <a:pt x="85" y="4"/>
                  <a:pt x="65" y="13"/>
                </a:cubicBezTo>
                <a:cubicBezTo>
                  <a:pt x="45" y="21"/>
                  <a:pt x="29" y="32"/>
                  <a:pt x="17" y="47"/>
                </a:cubicBezTo>
                <a:close/>
                <a:moveTo>
                  <a:pt x="222" y="59"/>
                </a:moveTo>
                <a:cubicBezTo>
                  <a:pt x="231" y="70"/>
                  <a:pt x="236" y="82"/>
                  <a:pt x="236" y="94"/>
                </a:cubicBezTo>
                <a:cubicBezTo>
                  <a:pt x="236" y="107"/>
                  <a:pt x="231" y="119"/>
                  <a:pt x="222" y="130"/>
                </a:cubicBezTo>
                <a:cubicBezTo>
                  <a:pt x="212" y="141"/>
                  <a:pt x="199" y="149"/>
                  <a:pt x="183" y="156"/>
                </a:cubicBezTo>
                <a:cubicBezTo>
                  <a:pt x="166" y="162"/>
                  <a:pt x="149" y="165"/>
                  <a:pt x="130" y="165"/>
                </a:cubicBezTo>
                <a:cubicBezTo>
                  <a:pt x="121" y="165"/>
                  <a:pt x="111" y="164"/>
                  <a:pt x="102" y="163"/>
                </a:cubicBezTo>
                <a:cubicBezTo>
                  <a:pt x="92" y="161"/>
                  <a:pt x="92" y="161"/>
                  <a:pt x="92" y="161"/>
                </a:cubicBezTo>
                <a:cubicBezTo>
                  <a:pt x="84" y="167"/>
                  <a:pt x="84" y="167"/>
                  <a:pt x="84" y="167"/>
                </a:cubicBezTo>
                <a:cubicBezTo>
                  <a:pt x="80" y="169"/>
                  <a:pt x="77" y="171"/>
                  <a:pt x="72" y="174"/>
                </a:cubicBezTo>
                <a:cubicBezTo>
                  <a:pt x="79" y="158"/>
                  <a:pt x="79" y="158"/>
                  <a:pt x="79" y="158"/>
                </a:cubicBezTo>
                <a:cubicBezTo>
                  <a:pt x="61" y="148"/>
                  <a:pt x="61" y="148"/>
                  <a:pt x="61" y="148"/>
                </a:cubicBezTo>
                <a:cubicBezTo>
                  <a:pt x="49" y="141"/>
                  <a:pt x="40" y="133"/>
                  <a:pt x="33" y="124"/>
                </a:cubicBezTo>
                <a:cubicBezTo>
                  <a:pt x="27" y="114"/>
                  <a:pt x="24" y="105"/>
                  <a:pt x="24" y="94"/>
                </a:cubicBezTo>
                <a:cubicBezTo>
                  <a:pt x="24" y="82"/>
                  <a:pt x="29" y="70"/>
                  <a:pt x="38" y="59"/>
                </a:cubicBezTo>
                <a:cubicBezTo>
                  <a:pt x="48" y="48"/>
                  <a:pt x="61" y="40"/>
                  <a:pt x="77" y="33"/>
                </a:cubicBezTo>
                <a:cubicBezTo>
                  <a:pt x="94" y="27"/>
                  <a:pt x="111" y="24"/>
                  <a:pt x="130" y="24"/>
                </a:cubicBezTo>
                <a:cubicBezTo>
                  <a:pt x="149" y="24"/>
                  <a:pt x="166" y="27"/>
                  <a:pt x="183" y="33"/>
                </a:cubicBezTo>
                <a:cubicBezTo>
                  <a:pt x="199" y="40"/>
                  <a:pt x="212" y="48"/>
                  <a:pt x="222" y="59"/>
                </a:cubicBezTo>
                <a:close/>
              </a:path>
            </a:pathLst>
          </a:custGeom>
          <a:solidFill>
            <a:schemeClr val="tx1">
              <a:lumMod val="50000"/>
              <a:lumOff val="50000"/>
            </a:schemeClr>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14" name="Freeform 13" descr="Blue arrow"/>
          <p:cNvSpPr>
            <a:spLocks noEditPoints="1"/>
          </p:cNvSpPr>
          <p:nvPr/>
        </p:nvSpPr>
        <p:spPr bwMode="auto">
          <a:xfrm rot="10800000">
            <a:off x="6026783" y="4228283"/>
            <a:ext cx="1882667" cy="1139819"/>
          </a:xfrm>
          <a:custGeom>
            <a:avLst/>
            <a:gdLst>
              <a:gd name="T0" fmla="*/ 257 w 612"/>
              <a:gd name="T1" fmla="*/ 279 h 538"/>
              <a:gd name="T2" fmla="*/ 254 w 612"/>
              <a:gd name="T3" fmla="*/ 398 h 538"/>
              <a:gd name="T4" fmla="*/ 253 w 612"/>
              <a:gd name="T5" fmla="*/ 427 h 538"/>
              <a:gd name="T6" fmla="*/ 232 w 612"/>
              <a:gd name="T7" fmla="*/ 407 h 538"/>
              <a:gd name="T8" fmla="*/ 104 w 612"/>
              <a:gd name="T9" fmla="*/ 287 h 538"/>
              <a:gd name="T10" fmla="*/ 22 w 612"/>
              <a:gd name="T11" fmla="*/ 234 h 538"/>
              <a:gd name="T12" fmla="*/ 0 w 612"/>
              <a:gd name="T13" fmla="*/ 225 h 538"/>
              <a:gd name="T14" fmla="*/ 19 w 612"/>
              <a:gd name="T15" fmla="*/ 212 h 538"/>
              <a:gd name="T16" fmla="*/ 173 w 612"/>
              <a:gd name="T17" fmla="*/ 96 h 538"/>
              <a:gd name="T18" fmla="*/ 243 w 612"/>
              <a:gd name="T19" fmla="*/ 0 h 538"/>
              <a:gd name="T20" fmla="*/ 268 w 612"/>
              <a:gd name="T21" fmla="*/ 5 h 538"/>
              <a:gd name="T22" fmla="*/ 268 w 612"/>
              <a:gd name="T23" fmla="*/ 126 h 538"/>
              <a:gd name="T24" fmla="*/ 522 w 612"/>
              <a:gd name="T25" fmla="*/ 230 h 538"/>
              <a:gd name="T26" fmla="*/ 593 w 612"/>
              <a:gd name="T27" fmla="*/ 342 h 538"/>
              <a:gd name="T28" fmla="*/ 606 w 612"/>
              <a:gd name="T29" fmla="*/ 464 h 538"/>
              <a:gd name="T30" fmla="*/ 569 w 612"/>
              <a:gd name="T31" fmla="*/ 532 h 538"/>
              <a:gd name="T32" fmla="*/ 550 w 612"/>
              <a:gd name="T33" fmla="*/ 538 h 538"/>
              <a:gd name="T34" fmla="*/ 551 w 612"/>
              <a:gd name="T35" fmla="*/ 518 h 538"/>
              <a:gd name="T36" fmla="*/ 460 w 612"/>
              <a:gd name="T37" fmla="*/ 328 h 538"/>
              <a:gd name="T38" fmla="*/ 257 w 612"/>
              <a:gd name="T39" fmla="*/ 279 h 538"/>
              <a:gd name="T40" fmla="*/ 229 w 612"/>
              <a:gd name="T41" fmla="*/ 368 h 538"/>
              <a:gd name="T42" fmla="*/ 232 w 612"/>
              <a:gd name="T43" fmla="*/ 267 h 538"/>
              <a:gd name="T44" fmla="*/ 232 w 612"/>
              <a:gd name="T45" fmla="*/ 256 h 538"/>
              <a:gd name="T46" fmla="*/ 243 w 612"/>
              <a:gd name="T47" fmla="*/ 255 h 538"/>
              <a:gd name="T48" fmla="*/ 474 w 612"/>
              <a:gd name="T49" fmla="*/ 306 h 538"/>
              <a:gd name="T50" fmla="*/ 576 w 612"/>
              <a:gd name="T51" fmla="*/ 478 h 538"/>
              <a:gd name="T52" fmla="*/ 580 w 612"/>
              <a:gd name="T53" fmla="*/ 459 h 538"/>
              <a:gd name="T54" fmla="*/ 568 w 612"/>
              <a:gd name="T55" fmla="*/ 350 h 538"/>
              <a:gd name="T56" fmla="*/ 503 w 612"/>
              <a:gd name="T57" fmla="*/ 248 h 538"/>
              <a:gd name="T58" fmla="*/ 253 w 612"/>
              <a:gd name="T59" fmla="*/ 150 h 538"/>
              <a:gd name="T60" fmla="*/ 242 w 612"/>
              <a:gd name="T61" fmla="*/ 149 h 538"/>
              <a:gd name="T62" fmla="*/ 242 w 612"/>
              <a:gd name="T63" fmla="*/ 138 h 538"/>
              <a:gd name="T64" fmla="*/ 242 w 612"/>
              <a:gd name="T65" fmla="*/ 54 h 538"/>
              <a:gd name="T66" fmla="*/ 189 w 612"/>
              <a:gd name="T67" fmla="*/ 117 h 538"/>
              <a:gd name="T68" fmla="*/ 52 w 612"/>
              <a:gd name="T69" fmla="*/ 220 h 538"/>
              <a:gd name="T70" fmla="*/ 122 w 612"/>
              <a:gd name="T71" fmla="*/ 268 h 538"/>
              <a:gd name="T72" fmla="*/ 229 w 612"/>
              <a:gd name="T73" fmla="*/ 368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12" h="538">
                <a:moveTo>
                  <a:pt x="257" y="279"/>
                </a:moveTo>
                <a:cubicBezTo>
                  <a:pt x="254" y="398"/>
                  <a:pt x="254" y="398"/>
                  <a:pt x="254" y="398"/>
                </a:cubicBezTo>
                <a:cubicBezTo>
                  <a:pt x="253" y="427"/>
                  <a:pt x="253" y="427"/>
                  <a:pt x="253" y="427"/>
                </a:cubicBezTo>
                <a:cubicBezTo>
                  <a:pt x="232" y="407"/>
                  <a:pt x="232" y="407"/>
                  <a:pt x="232" y="407"/>
                </a:cubicBezTo>
                <a:cubicBezTo>
                  <a:pt x="231" y="407"/>
                  <a:pt x="147" y="326"/>
                  <a:pt x="104" y="287"/>
                </a:cubicBezTo>
                <a:cubicBezTo>
                  <a:pt x="63" y="250"/>
                  <a:pt x="22" y="234"/>
                  <a:pt x="22" y="234"/>
                </a:cubicBezTo>
                <a:cubicBezTo>
                  <a:pt x="0" y="225"/>
                  <a:pt x="0" y="225"/>
                  <a:pt x="0" y="225"/>
                </a:cubicBezTo>
                <a:cubicBezTo>
                  <a:pt x="19" y="212"/>
                  <a:pt x="19" y="212"/>
                  <a:pt x="19" y="212"/>
                </a:cubicBezTo>
                <a:cubicBezTo>
                  <a:pt x="19" y="211"/>
                  <a:pt x="132" y="129"/>
                  <a:pt x="173" y="96"/>
                </a:cubicBezTo>
                <a:cubicBezTo>
                  <a:pt x="212" y="65"/>
                  <a:pt x="243" y="0"/>
                  <a:pt x="243" y="0"/>
                </a:cubicBezTo>
                <a:cubicBezTo>
                  <a:pt x="268" y="5"/>
                  <a:pt x="268" y="5"/>
                  <a:pt x="268" y="5"/>
                </a:cubicBezTo>
                <a:cubicBezTo>
                  <a:pt x="268" y="126"/>
                  <a:pt x="268" y="126"/>
                  <a:pt x="268" y="126"/>
                </a:cubicBezTo>
                <a:cubicBezTo>
                  <a:pt x="310" y="133"/>
                  <a:pt x="454" y="160"/>
                  <a:pt x="522" y="230"/>
                </a:cubicBezTo>
                <a:cubicBezTo>
                  <a:pt x="557" y="266"/>
                  <a:pt x="580" y="305"/>
                  <a:pt x="593" y="342"/>
                </a:cubicBezTo>
                <a:cubicBezTo>
                  <a:pt x="610" y="389"/>
                  <a:pt x="612" y="433"/>
                  <a:pt x="606" y="464"/>
                </a:cubicBezTo>
                <a:cubicBezTo>
                  <a:pt x="594" y="523"/>
                  <a:pt x="569" y="531"/>
                  <a:pt x="569" y="532"/>
                </a:cubicBezTo>
                <a:cubicBezTo>
                  <a:pt x="550" y="538"/>
                  <a:pt x="550" y="538"/>
                  <a:pt x="550" y="538"/>
                </a:cubicBezTo>
                <a:cubicBezTo>
                  <a:pt x="551" y="518"/>
                  <a:pt x="551" y="518"/>
                  <a:pt x="551" y="518"/>
                </a:cubicBezTo>
                <a:cubicBezTo>
                  <a:pt x="551" y="518"/>
                  <a:pt x="561" y="392"/>
                  <a:pt x="460" y="328"/>
                </a:cubicBezTo>
                <a:cubicBezTo>
                  <a:pt x="376" y="275"/>
                  <a:pt x="288" y="277"/>
                  <a:pt x="257" y="279"/>
                </a:cubicBezTo>
                <a:moveTo>
                  <a:pt x="229" y="368"/>
                </a:moveTo>
                <a:cubicBezTo>
                  <a:pt x="232" y="267"/>
                  <a:pt x="232" y="267"/>
                  <a:pt x="232" y="267"/>
                </a:cubicBezTo>
                <a:cubicBezTo>
                  <a:pt x="232" y="256"/>
                  <a:pt x="232" y="256"/>
                  <a:pt x="232" y="256"/>
                </a:cubicBezTo>
                <a:cubicBezTo>
                  <a:pt x="243" y="255"/>
                  <a:pt x="243" y="255"/>
                  <a:pt x="243" y="255"/>
                </a:cubicBezTo>
                <a:cubicBezTo>
                  <a:pt x="243" y="255"/>
                  <a:pt x="363" y="235"/>
                  <a:pt x="474" y="306"/>
                </a:cubicBezTo>
                <a:cubicBezTo>
                  <a:pt x="549" y="353"/>
                  <a:pt x="570" y="430"/>
                  <a:pt x="576" y="478"/>
                </a:cubicBezTo>
                <a:cubicBezTo>
                  <a:pt x="577" y="473"/>
                  <a:pt x="579" y="466"/>
                  <a:pt x="580" y="459"/>
                </a:cubicBezTo>
                <a:cubicBezTo>
                  <a:pt x="586" y="432"/>
                  <a:pt x="584" y="393"/>
                  <a:pt x="568" y="350"/>
                </a:cubicBezTo>
                <a:cubicBezTo>
                  <a:pt x="556" y="317"/>
                  <a:pt x="536" y="281"/>
                  <a:pt x="503" y="248"/>
                </a:cubicBezTo>
                <a:cubicBezTo>
                  <a:pt x="430" y="173"/>
                  <a:pt x="254" y="151"/>
                  <a:pt x="253" y="150"/>
                </a:cubicBezTo>
                <a:cubicBezTo>
                  <a:pt x="242" y="149"/>
                  <a:pt x="242" y="149"/>
                  <a:pt x="242" y="149"/>
                </a:cubicBezTo>
                <a:cubicBezTo>
                  <a:pt x="242" y="138"/>
                  <a:pt x="242" y="138"/>
                  <a:pt x="242" y="138"/>
                </a:cubicBezTo>
                <a:cubicBezTo>
                  <a:pt x="242" y="54"/>
                  <a:pt x="242" y="54"/>
                  <a:pt x="242" y="54"/>
                </a:cubicBezTo>
                <a:cubicBezTo>
                  <a:pt x="228" y="76"/>
                  <a:pt x="210" y="100"/>
                  <a:pt x="189" y="117"/>
                </a:cubicBezTo>
                <a:cubicBezTo>
                  <a:pt x="158" y="142"/>
                  <a:pt x="86" y="195"/>
                  <a:pt x="52" y="220"/>
                </a:cubicBezTo>
                <a:cubicBezTo>
                  <a:pt x="69" y="229"/>
                  <a:pt x="95" y="244"/>
                  <a:pt x="122" y="268"/>
                </a:cubicBezTo>
                <a:cubicBezTo>
                  <a:pt x="152" y="295"/>
                  <a:pt x="201" y="342"/>
                  <a:pt x="229" y="368"/>
                </a:cubicBezTo>
              </a:path>
            </a:pathLst>
          </a:custGeom>
          <a:solidFill>
            <a:schemeClr val="accent5">
              <a:lumMod val="60000"/>
              <a:lumOff val="40000"/>
            </a:scheme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pic>
        <p:nvPicPr>
          <p:cNvPr id="11266" name="Picture 2" descr="How to Video Chat in Microsoft Teams - All Things How"/>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037146" y="3439926"/>
            <a:ext cx="3549006" cy="2207812"/>
          </a:xfrm>
          <a:prstGeom prst="rect">
            <a:avLst/>
          </a:prstGeom>
          <a:noFill/>
          <a:ln w="19050">
            <a:solidFill>
              <a:srgbClr val="FF0000"/>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2097803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Departmental modernization strategy</a:t>
            </a:r>
            <a:endParaRPr lang="en-CA" dirty="0"/>
          </a:p>
        </p:txBody>
      </p:sp>
      <p:sp>
        <p:nvSpPr>
          <p:cNvPr id="3" name="Rectangle 2"/>
          <p:cNvSpPr/>
          <p:nvPr/>
        </p:nvSpPr>
        <p:spPr>
          <a:xfrm>
            <a:off x="508759" y="1744371"/>
            <a:ext cx="10058400" cy="1200329"/>
          </a:xfrm>
          <a:prstGeom prst="rect">
            <a:avLst/>
          </a:prstGeom>
        </p:spPr>
        <p:txBody>
          <a:bodyPr wrap="square">
            <a:spAutoFit/>
          </a:bodyPr>
          <a:lstStyle/>
          <a:p>
            <a:r>
              <a:rPr lang="en-CA" dirty="0" smtClean="0">
                <a:solidFill>
                  <a:schemeClr val="tx2"/>
                </a:solidFill>
                <a:cs typeface="Arial" pitchFamily="34" charset="0"/>
              </a:rPr>
              <a:t>[If developed or available, present the departmental modernization strategy. Put emphasis on the workplace modernization pillar and how the future workplace will enable the new modernized way of delivering programs, providing services and managing operations.] </a:t>
            </a:r>
            <a:r>
              <a:rPr lang="en-CA" dirty="0">
                <a:solidFill>
                  <a:schemeClr val="tx2"/>
                </a:solidFill>
                <a:cs typeface="Arial" pitchFamily="34" charset="0"/>
              </a:rPr>
              <a:t/>
            </a:r>
            <a:br>
              <a:rPr lang="en-CA" dirty="0">
                <a:solidFill>
                  <a:schemeClr val="tx2"/>
                </a:solidFill>
                <a:cs typeface="Arial" pitchFamily="34" charset="0"/>
              </a:rPr>
            </a:br>
            <a:endParaRPr lang="fr-CA" dirty="0">
              <a:solidFill>
                <a:schemeClr val="tx2"/>
              </a:solidFill>
            </a:endParaRPr>
          </a:p>
        </p:txBody>
      </p:sp>
      <p:sp>
        <p:nvSpPr>
          <p:cNvPr id="4" name="Rectangle 3"/>
          <p:cNvSpPr/>
          <p:nvPr/>
        </p:nvSpPr>
        <p:spPr>
          <a:xfrm>
            <a:off x="600199" y="3303183"/>
            <a:ext cx="4111844" cy="646331"/>
          </a:xfrm>
          <a:prstGeom prst="rect">
            <a:avLst/>
          </a:prstGeom>
        </p:spPr>
        <p:txBody>
          <a:bodyPr wrap="square">
            <a:spAutoFit/>
          </a:bodyPr>
          <a:lstStyle/>
          <a:p>
            <a:r>
              <a:rPr lang="en-CA" dirty="0" smtClean="0">
                <a:solidFill>
                  <a:schemeClr val="tx2"/>
                </a:solidFill>
                <a:cs typeface="Arial" pitchFamily="34" charset="0"/>
              </a:rPr>
              <a:t>[Include link to a video, if available­] </a:t>
            </a:r>
            <a:r>
              <a:rPr lang="en-CA" dirty="0">
                <a:solidFill>
                  <a:schemeClr val="tx2"/>
                </a:solidFill>
                <a:cs typeface="Arial" pitchFamily="34" charset="0"/>
              </a:rPr>
              <a:t/>
            </a:r>
            <a:br>
              <a:rPr lang="en-CA" dirty="0">
                <a:solidFill>
                  <a:schemeClr val="tx2"/>
                </a:solidFill>
                <a:cs typeface="Arial" pitchFamily="34" charset="0"/>
              </a:rPr>
            </a:br>
            <a:endParaRPr lang="fr-CA" dirty="0">
              <a:solidFill>
                <a:schemeClr val="tx2"/>
              </a:solidFill>
            </a:endParaRPr>
          </a:p>
        </p:txBody>
      </p:sp>
      <p:sp>
        <p:nvSpPr>
          <p:cNvPr id="5" name="TextBox 4"/>
          <p:cNvSpPr txBox="1"/>
          <p:nvPr/>
        </p:nvSpPr>
        <p:spPr>
          <a:xfrm>
            <a:off x="7021843" y="5802813"/>
            <a:ext cx="5079626" cy="374571"/>
          </a:xfrm>
          <a:prstGeom prst="roundRect">
            <a:avLst/>
          </a:prstGeom>
          <a:solidFill>
            <a:srgbClr val="FFC000"/>
          </a:solidFill>
        </p:spPr>
        <p:txBody>
          <a:bodyPr wrap="square" rtlCol="0">
            <a:spAutoFit/>
          </a:bodyPr>
          <a:lstStyle/>
          <a:p>
            <a:pPr algn="r"/>
            <a:r>
              <a:rPr lang="fr-CA" sz="1600" i="1" dirty="0" smtClean="0">
                <a:solidFill>
                  <a:schemeClr val="tx2"/>
                </a:solidFill>
              </a:rPr>
              <a:t>Should be presented by the </a:t>
            </a:r>
            <a:r>
              <a:rPr lang="fr-CA" sz="1600" i="1" dirty="0" err="1" smtClean="0">
                <a:solidFill>
                  <a:schemeClr val="tx2"/>
                </a:solidFill>
              </a:rPr>
              <a:t>project</a:t>
            </a:r>
            <a:r>
              <a:rPr lang="fr-CA" sz="1600" i="1" dirty="0" smtClean="0">
                <a:solidFill>
                  <a:schemeClr val="tx2"/>
                </a:solidFill>
              </a:rPr>
              <a:t> sponsor or champion</a:t>
            </a:r>
            <a:endParaRPr lang="fr-CA" sz="1600" i="1" dirty="0">
              <a:solidFill>
                <a:schemeClr val="tx2"/>
              </a:solidFill>
            </a:endParaRPr>
          </a:p>
        </p:txBody>
      </p:sp>
      <p:sp>
        <p:nvSpPr>
          <p:cNvPr id="6" name="Freeform 5" descr="LightBulb Icon"/>
          <p:cNvSpPr>
            <a:spLocks noEditPoints="1"/>
          </p:cNvSpPr>
          <p:nvPr/>
        </p:nvSpPr>
        <p:spPr bwMode="auto">
          <a:xfrm rot="20843298">
            <a:off x="7063807" y="5780622"/>
            <a:ext cx="312771" cy="418948"/>
          </a:xfrm>
          <a:custGeom>
            <a:avLst/>
            <a:gdLst>
              <a:gd name="T0" fmla="*/ 377 w 448"/>
              <a:gd name="T1" fmla="*/ 53 h 671"/>
              <a:gd name="T2" fmla="*/ 224 w 448"/>
              <a:gd name="T3" fmla="*/ 0 h 671"/>
              <a:gd name="T4" fmla="*/ 71 w 448"/>
              <a:gd name="T5" fmla="*/ 53 h 671"/>
              <a:gd name="T6" fmla="*/ 0 w 448"/>
              <a:gd name="T7" fmla="*/ 196 h 671"/>
              <a:gd name="T8" fmla="*/ 78 w 448"/>
              <a:gd name="T9" fmla="*/ 351 h 671"/>
              <a:gd name="T10" fmla="*/ 119 w 448"/>
              <a:gd name="T11" fmla="*/ 440 h 671"/>
              <a:gd name="T12" fmla="*/ 109 w 448"/>
              <a:gd name="T13" fmla="*/ 503 h 671"/>
              <a:gd name="T14" fmla="*/ 118 w 448"/>
              <a:gd name="T15" fmla="*/ 567 h 671"/>
              <a:gd name="T16" fmla="*/ 126 w 448"/>
              <a:gd name="T17" fmla="*/ 618 h 671"/>
              <a:gd name="T18" fmla="*/ 186 w 448"/>
              <a:gd name="T19" fmla="*/ 660 h 671"/>
              <a:gd name="T20" fmla="*/ 262 w 448"/>
              <a:gd name="T21" fmla="*/ 660 h 671"/>
              <a:gd name="T22" fmla="*/ 322 w 448"/>
              <a:gd name="T23" fmla="*/ 618 h 671"/>
              <a:gd name="T24" fmla="*/ 330 w 448"/>
              <a:gd name="T25" fmla="*/ 567 h 671"/>
              <a:gd name="T26" fmla="*/ 339 w 448"/>
              <a:gd name="T27" fmla="*/ 503 h 671"/>
              <a:gd name="T28" fmla="*/ 329 w 448"/>
              <a:gd name="T29" fmla="*/ 440 h 671"/>
              <a:gd name="T30" fmla="*/ 370 w 448"/>
              <a:gd name="T31" fmla="*/ 351 h 671"/>
              <a:gd name="T32" fmla="*/ 448 w 448"/>
              <a:gd name="T33" fmla="*/ 196 h 671"/>
              <a:gd name="T34" fmla="*/ 362 w 448"/>
              <a:gd name="T35" fmla="*/ 274 h 671"/>
              <a:gd name="T36" fmla="*/ 336 w 448"/>
              <a:gd name="T37" fmla="*/ 303 h 671"/>
              <a:gd name="T38" fmla="*/ 174 w 448"/>
              <a:gd name="T39" fmla="*/ 433 h 671"/>
              <a:gd name="T40" fmla="*/ 99 w 448"/>
              <a:gd name="T41" fmla="*/ 289 h 671"/>
              <a:gd name="T42" fmla="*/ 56 w 448"/>
              <a:gd name="T43" fmla="*/ 196 h 671"/>
              <a:gd name="T44" fmla="*/ 111 w 448"/>
              <a:gd name="T45" fmla="*/ 93 h 671"/>
              <a:gd name="T46" fmla="*/ 224 w 448"/>
              <a:gd name="T47" fmla="*/ 56 h 671"/>
              <a:gd name="T48" fmla="*/ 338 w 448"/>
              <a:gd name="T49" fmla="*/ 93 h 671"/>
              <a:gd name="T50" fmla="*/ 392 w 448"/>
              <a:gd name="T51" fmla="*/ 196 h 671"/>
              <a:gd name="T52" fmla="*/ 306 w 448"/>
              <a:gd name="T53" fmla="*/ 156 h 671"/>
              <a:gd name="T54" fmla="*/ 224 w 448"/>
              <a:gd name="T55" fmla="*/ 126 h 671"/>
              <a:gd name="T56" fmla="*/ 210 w 448"/>
              <a:gd name="T57" fmla="*/ 139 h 671"/>
              <a:gd name="T58" fmla="*/ 224 w 448"/>
              <a:gd name="T59" fmla="*/ 154 h 671"/>
              <a:gd name="T60" fmla="*/ 294 w 448"/>
              <a:gd name="T61" fmla="*/ 196 h 671"/>
              <a:gd name="T62" fmla="*/ 308 w 448"/>
              <a:gd name="T63" fmla="*/ 210 h 671"/>
              <a:gd name="T64" fmla="*/ 322 w 448"/>
              <a:gd name="T65" fmla="*/ 196 h 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48" h="671">
                <a:moveTo>
                  <a:pt x="429" y="115"/>
                </a:moveTo>
                <a:cubicBezTo>
                  <a:pt x="416" y="90"/>
                  <a:pt x="398" y="69"/>
                  <a:pt x="377" y="53"/>
                </a:cubicBezTo>
                <a:cubicBezTo>
                  <a:pt x="356" y="36"/>
                  <a:pt x="332" y="23"/>
                  <a:pt x="306" y="14"/>
                </a:cubicBezTo>
                <a:cubicBezTo>
                  <a:pt x="279" y="4"/>
                  <a:pt x="252" y="0"/>
                  <a:pt x="224" y="0"/>
                </a:cubicBezTo>
                <a:cubicBezTo>
                  <a:pt x="196" y="0"/>
                  <a:pt x="169" y="4"/>
                  <a:pt x="142" y="14"/>
                </a:cubicBezTo>
                <a:cubicBezTo>
                  <a:pt x="116" y="23"/>
                  <a:pt x="92" y="36"/>
                  <a:pt x="71" y="53"/>
                </a:cubicBezTo>
                <a:cubicBezTo>
                  <a:pt x="50" y="69"/>
                  <a:pt x="32" y="90"/>
                  <a:pt x="20" y="115"/>
                </a:cubicBezTo>
                <a:cubicBezTo>
                  <a:pt x="7" y="140"/>
                  <a:pt x="0" y="167"/>
                  <a:pt x="0" y="196"/>
                </a:cubicBezTo>
                <a:cubicBezTo>
                  <a:pt x="0" y="241"/>
                  <a:pt x="15" y="280"/>
                  <a:pt x="45" y="313"/>
                </a:cubicBezTo>
                <a:cubicBezTo>
                  <a:pt x="58" y="327"/>
                  <a:pt x="69" y="340"/>
                  <a:pt x="78" y="351"/>
                </a:cubicBezTo>
                <a:cubicBezTo>
                  <a:pt x="86" y="362"/>
                  <a:pt x="95" y="376"/>
                  <a:pt x="104" y="393"/>
                </a:cubicBezTo>
                <a:cubicBezTo>
                  <a:pt x="112" y="409"/>
                  <a:pt x="117" y="425"/>
                  <a:pt x="119" y="440"/>
                </a:cubicBezTo>
                <a:cubicBezTo>
                  <a:pt x="105" y="448"/>
                  <a:pt x="98" y="460"/>
                  <a:pt x="98" y="475"/>
                </a:cubicBezTo>
                <a:cubicBezTo>
                  <a:pt x="98" y="486"/>
                  <a:pt x="102" y="496"/>
                  <a:pt x="109" y="503"/>
                </a:cubicBezTo>
                <a:cubicBezTo>
                  <a:pt x="102" y="511"/>
                  <a:pt x="98" y="521"/>
                  <a:pt x="98" y="531"/>
                </a:cubicBezTo>
                <a:cubicBezTo>
                  <a:pt x="98" y="547"/>
                  <a:pt x="105" y="558"/>
                  <a:pt x="118" y="567"/>
                </a:cubicBezTo>
                <a:cubicBezTo>
                  <a:pt x="114" y="574"/>
                  <a:pt x="112" y="580"/>
                  <a:pt x="112" y="587"/>
                </a:cubicBezTo>
                <a:cubicBezTo>
                  <a:pt x="112" y="601"/>
                  <a:pt x="117" y="611"/>
                  <a:pt x="126" y="618"/>
                </a:cubicBezTo>
                <a:cubicBezTo>
                  <a:pt x="135" y="626"/>
                  <a:pt x="146" y="629"/>
                  <a:pt x="160" y="629"/>
                </a:cubicBezTo>
                <a:cubicBezTo>
                  <a:pt x="166" y="642"/>
                  <a:pt x="174" y="652"/>
                  <a:pt x="186" y="660"/>
                </a:cubicBezTo>
                <a:cubicBezTo>
                  <a:pt x="198" y="668"/>
                  <a:pt x="210" y="671"/>
                  <a:pt x="224" y="671"/>
                </a:cubicBezTo>
                <a:cubicBezTo>
                  <a:pt x="238" y="671"/>
                  <a:pt x="250" y="668"/>
                  <a:pt x="262" y="660"/>
                </a:cubicBezTo>
                <a:cubicBezTo>
                  <a:pt x="274" y="652"/>
                  <a:pt x="283" y="642"/>
                  <a:pt x="288" y="629"/>
                </a:cubicBezTo>
                <a:cubicBezTo>
                  <a:pt x="302" y="629"/>
                  <a:pt x="313" y="626"/>
                  <a:pt x="322" y="618"/>
                </a:cubicBezTo>
                <a:cubicBezTo>
                  <a:pt x="331" y="611"/>
                  <a:pt x="336" y="601"/>
                  <a:pt x="336" y="587"/>
                </a:cubicBezTo>
                <a:cubicBezTo>
                  <a:pt x="336" y="580"/>
                  <a:pt x="334" y="574"/>
                  <a:pt x="330" y="567"/>
                </a:cubicBezTo>
                <a:cubicBezTo>
                  <a:pt x="343" y="558"/>
                  <a:pt x="350" y="547"/>
                  <a:pt x="350" y="531"/>
                </a:cubicBezTo>
                <a:cubicBezTo>
                  <a:pt x="350" y="521"/>
                  <a:pt x="346" y="511"/>
                  <a:pt x="339" y="503"/>
                </a:cubicBezTo>
                <a:cubicBezTo>
                  <a:pt x="346" y="496"/>
                  <a:pt x="350" y="486"/>
                  <a:pt x="350" y="475"/>
                </a:cubicBezTo>
                <a:cubicBezTo>
                  <a:pt x="350" y="460"/>
                  <a:pt x="343" y="448"/>
                  <a:pt x="329" y="440"/>
                </a:cubicBezTo>
                <a:cubicBezTo>
                  <a:pt x="331" y="425"/>
                  <a:pt x="336" y="409"/>
                  <a:pt x="344" y="393"/>
                </a:cubicBezTo>
                <a:cubicBezTo>
                  <a:pt x="353" y="376"/>
                  <a:pt x="362" y="362"/>
                  <a:pt x="370" y="351"/>
                </a:cubicBezTo>
                <a:cubicBezTo>
                  <a:pt x="379" y="340"/>
                  <a:pt x="390" y="327"/>
                  <a:pt x="403" y="313"/>
                </a:cubicBezTo>
                <a:cubicBezTo>
                  <a:pt x="433" y="280"/>
                  <a:pt x="448" y="241"/>
                  <a:pt x="448" y="196"/>
                </a:cubicBezTo>
                <a:cubicBezTo>
                  <a:pt x="448" y="167"/>
                  <a:pt x="442" y="140"/>
                  <a:pt x="429" y="115"/>
                </a:cubicBezTo>
                <a:close/>
                <a:moveTo>
                  <a:pt x="362" y="274"/>
                </a:moveTo>
                <a:cubicBezTo>
                  <a:pt x="359" y="278"/>
                  <a:pt x="355" y="282"/>
                  <a:pt x="349" y="289"/>
                </a:cubicBezTo>
                <a:cubicBezTo>
                  <a:pt x="343" y="295"/>
                  <a:pt x="338" y="300"/>
                  <a:pt x="336" y="303"/>
                </a:cubicBezTo>
                <a:cubicBezTo>
                  <a:pt x="298" y="348"/>
                  <a:pt x="278" y="391"/>
                  <a:pt x="274" y="433"/>
                </a:cubicBezTo>
                <a:cubicBezTo>
                  <a:pt x="174" y="433"/>
                  <a:pt x="174" y="433"/>
                  <a:pt x="174" y="433"/>
                </a:cubicBezTo>
                <a:cubicBezTo>
                  <a:pt x="170" y="391"/>
                  <a:pt x="150" y="348"/>
                  <a:pt x="112" y="303"/>
                </a:cubicBezTo>
                <a:cubicBezTo>
                  <a:pt x="110" y="300"/>
                  <a:pt x="105" y="295"/>
                  <a:pt x="99" y="289"/>
                </a:cubicBezTo>
                <a:cubicBezTo>
                  <a:pt x="93" y="282"/>
                  <a:pt x="89" y="278"/>
                  <a:pt x="86" y="274"/>
                </a:cubicBezTo>
                <a:cubicBezTo>
                  <a:pt x="66" y="251"/>
                  <a:pt x="56" y="225"/>
                  <a:pt x="56" y="196"/>
                </a:cubicBezTo>
                <a:cubicBezTo>
                  <a:pt x="56" y="175"/>
                  <a:pt x="61" y="155"/>
                  <a:pt x="71" y="137"/>
                </a:cubicBezTo>
                <a:cubicBezTo>
                  <a:pt x="81" y="119"/>
                  <a:pt x="94" y="104"/>
                  <a:pt x="111" y="93"/>
                </a:cubicBezTo>
                <a:cubicBezTo>
                  <a:pt x="127" y="81"/>
                  <a:pt x="145" y="72"/>
                  <a:pt x="164" y="65"/>
                </a:cubicBezTo>
                <a:cubicBezTo>
                  <a:pt x="184" y="59"/>
                  <a:pt x="204" y="56"/>
                  <a:pt x="224" y="56"/>
                </a:cubicBezTo>
                <a:cubicBezTo>
                  <a:pt x="244" y="56"/>
                  <a:pt x="264" y="59"/>
                  <a:pt x="284" y="65"/>
                </a:cubicBezTo>
                <a:cubicBezTo>
                  <a:pt x="303" y="72"/>
                  <a:pt x="321" y="81"/>
                  <a:pt x="338" y="93"/>
                </a:cubicBezTo>
                <a:cubicBezTo>
                  <a:pt x="354" y="104"/>
                  <a:pt x="367" y="119"/>
                  <a:pt x="377" y="137"/>
                </a:cubicBezTo>
                <a:cubicBezTo>
                  <a:pt x="387" y="155"/>
                  <a:pt x="392" y="175"/>
                  <a:pt x="392" y="196"/>
                </a:cubicBezTo>
                <a:cubicBezTo>
                  <a:pt x="392" y="225"/>
                  <a:pt x="382" y="251"/>
                  <a:pt x="362" y="274"/>
                </a:cubicBezTo>
                <a:close/>
                <a:moveTo>
                  <a:pt x="306" y="156"/>
                </a:moveTo>
                <a:cubicBezTo>
                  <a:pt x="295" y="145"/>
                  <a:pt x="282" y="137"/>
                  <a:pt x="268" y="133"/>
                </a:cubicBezTo>
                <a:cubicBezTo>
                  <a:pt x="253" y="128"/>
                  <a:pt x="239" y="126"/>
                  <a:pt x="224" y="126"/>
                </a:cubicBezTo>
                <a:cubicBezTo>
                  <a:pt x="214" y="130"/>
                  <a:pt x="214" y="130"/>
                  <a:pt x="214" y="130"/>
                </a:cubicBezTo>
                <a:cubicBezTo>
                  <a:pt x="210" y="139"/>
                  <a:pt x="210" y="139"/>
                  <a:pt x="210" y="139"/>
                </a:cubicBezTo>
                <a:cubicBezTo>
                  <a:pt x="214" y="149"/>
                  <a:pt x="214" y="149"/>
                  <a:pt x="214" y="149"/>
                </a:cubicBezTo>
                <a:cubicBezTo>
                  <a:pt x="224" y="154"/>
                  <a:pt x="224" y="154"/>
                  <a:pt x="224" y="154"/>
                </a:cubicBezTo>
                <a:cubicBezTo>
                  <a:pt x="239" y="154"/>
                  <a:pt x="255" y="157"/>
                  <a:pt x="270" y="164"/>
                </a:cubicBezTo>
                <a:cubicBezTo>
                  <a:pt x="286" y="172"/>
                  <a:pt x="294" y="182"/>
                  <a:pt x="294" y="196"/>
                </a:cubicBezTo>
                <a:cubicBezTo>
                  <a:pt x="298" y="205"/>
                  <a:pt x="298" y="205"/>
                  <a:pt x="298" y="205"/>
                </a:cubicBezTo>
                <a:cubicBezTo>
                  <a:pt x="308" y="210"/>
                  <a:pt x="308" y="210"/>
                  <a:pt x="308" y="210"/>
                </a:cubicBezTo>
                <a:cubicBezTo>
                  <a:pt x="318" y="205"/>
                  <a:pt x="318" y="205"/>
                  <a:pt x="318" y="205"/>
                </a:cubicBezTo>
                <a:cubicBezTo>
                  <a:pt x="322" y="196"/>
                  <a:pt x="322" y="196"/>
                  <a:pt x="322" y="196"/>
                </a:cubicBezTo>
                <a:cubicBezTo>
                  <a:pt x="322" y="180"/>
                  <a:pt x="317" y="167"/>
                  <a:pt x="306" y="156"/>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Tree>
    <p:extLst>
      <p:ext uri="{BB962C8B-B14F-4D97-AF65-F5344CB8AC3E}">
        <p14:creationId xmlns:p14="http://schemas.microsoft.com/office/powerpoint/2010/main" val="38532810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solidFill>
                  <a:schemeClr val="tx2"/>
                </a:solidFill>
              </a:rPr>
              <a:t>XYZ </a:t>
            </a:r>
            <a:r>
              <a:rPr lang="en-CA" dirty="0"/>
              <a:t>p</a:t>
            </a:r>
            <a:r>
              <a:rPr lang="en-CA" dirty="0" smtClean="0"/>
              <a:t>roject workplace vision</a:t>
            </a:r>
            <a:endParaRPr lang="en-CA" dirty="0"/>
          </a:p>
        </p:txBody>
      </p:sp>
      <p:sp>
        <p:nvSpPr>
          <p:cNvPr id="3" name="Rectangle 2"/>
          <p:cNvSpPr/>
          <p:nvPr/>
        </p:nvSpPr>
        <p:spPr>
          <a:xfrm>
            <a:off x="508759" y="1507253"/>
            <a:ext cx="9983096" cy="923330"/>
          </a:xfrm>
          <a:prstGeom prst="rect">
            <a:avLst/>
          </a:prstGeom>
        </p:spPr>
        <p:txBody>
          <a:bodyPr wrap="square">
            <a:spAutoFit/>
          </a:bodyPr>
          <a:lstStyle/>
          <a:p>
            <a:r>
              <a:rPr lang="en-CA" dirty="0" smtClean="0">
                <a:solidFill>
                  <a:schemeClr val="tx2"/>
                </a:solidFill>
              </a:rPr>
              <a:t>[Deep-dive into the workplace pillar: what is the workplace vision for the organization/project, what are the key principles that will drive the workplace modernization, why does the organization want to change the workplace­] </a:t>
            </a:r>
          </a:p>
        </p:txBody>
      </p:sp>
      <p:sp>
        <p:nvSpPr>
          <p:cNvPr id="8" name="TextBox 7"/>
          <p:cNvSpPr txBox="1"/>
          <p:nvPr/>
        </p:nvSpPr>
        <p:spPr>
          <a:xfrm>
            <a:off x="7021843" y="5802813"/>
            <a:ext cx="5079626" cy="374571"/>
          </a:xfrm>
          <a:prstGeom prst="roundRect">
            <a:avLst/>
          </a:prstGeom>
          <a:solidFill>
            <a:srgbClr val="FFC000"/>
          </a:solidFill>
        </p:spPr>
        <p:txBody>
          <a:bodyPr wrap="square" rtlCol="0">
            <a:spAutoFit/>
          </a:bodyPr>
          <a:lstStyle/>
          <a:p>
            <a:pPr algn="r"/>
            <a:r>
              <a:rPr lang="fr-CA" sz="1600" i="1" dirty="0" smtClean="0">
                <a:solidFill>
                  <a:schemeClr val="tx2"/>
                </a:solidFill>
              </a:rPr>
              <a:t>Should be presented by the </a:t>
            </a:r>
            <a:r>
              <a:rPr lang="fr-CA" sz="1600" i="1" dirty="0" err="1" smtClean="0">
                <a:solidFill>
                  <a:schemeClr val="tx2"/>
                </a:solidFill>
              </a:rPr>
              <a:t>project</a:t>
            </a:r>
            <a:r>
              <a:rPr lang="fr-CA" sz="1600" i="1" dirty="0" smtClean="0">
                <a:solidFill>
                  <a:schemeClr val="tx2"/>
                </a:solidFill>
              </a:rPr>
              <a:t> sponsor or champion</a:t>
            </a:r>
            <a:endParaRPr lang="fr-CA" sz="1600" i="1" dirty="0">
              <a:solidFill>
                <a:schemeClr val="tx2"/>
              </a:solidFill>
            </a:endParaRPr>
          </a:p>
        </p:txBody>
      </p:sp>
      <p:sp>
        <p:nvSpPr>
          <p:cNvPr id="9" name="Freeform 8" descr="LightBulb Icon"/>
          <p:cNvSpPr>
            <a:spLocks noEditPoints="1"/>
          </p:cNvSpPr>
          <p:nvPr/>
        </p:nvSpPr>
        <p:spPr bwMode="auto">
          <a:xfrm rot="20843298">
            <a:off x="7063807" y="5780622"/>
            <a:ext cx="312771" cy="418948"/>
          </a:xfrm>
          <a:custGeom>
            <a:avLst/>
            <a:gdLst>
              <a:gd name="T0" fmla="*/ 377 w 448"/>
              <a:gd name="T1" fmla="*/ 53 h 671"/>
              <a:gd name="T2" fmla="*/ 224 w 448"/>
              <a:gd name="T3" fmla="*/ 0 h 671"/>
              <a:gd name="T4" fmla="*/ 71 w 448"/>
              <a:gd name="T5" fmla="*/ 53 h 671"/>
              <a:gd name="T6" fmla="*/ 0 w 448"/>
              <a:gd name="T7" fmla="*/ 196 h 671"/>
              <a:gd name="T8" fmla="*/ 78 w 448"/>
              <a:gd name="T9" fmla="*/ 351 h 671"/>
              <a:gd name="T10" fmla="*/ 119 w 448"/>
              <a:gd name="T11" fmla="*/ 440 h 671"/>
              <a:gd name="T12" fmla="*/ 109 w 448"/>
              <a:gd name="T13" fmla="*/ 503 h 671"/>
              <a:gd name="T14" fmla="*/ 118 w 448"/>
              <a:gd name="T15" fmla="*/ 567 h 671"/>
              <a:gd name="T16" fmla="*/ 126 w 448"/>
              <a:gd name="T17" fmla="*/ 618 h 671"/>
              <a:gd name="T18" fmla="*/ 186 w 448"/>
              <a:gd name="T19" fmla="*/ 660 h 671"/>
              <a:gd name="T20" fmla="*/ 262 w 448"/>
              <a:gd name="T21" fmla="*/ 660 h 671"/>
              <a:gd name="T22" fmla="*/ 322 w 448"/>
              <a:gd name="T23" fmla="*/ 618 h 671"/>
              <a:gd name="T24" fmla="*/ 330 w 448"/>
              <a:gd name="T25" fmla="*/ 567 h 671"/>
              <a:gd name="T26" fmla="*/ 339 w 448"/>
              <a:gd name="T27" fmla="*/ 503 h 671"/>
              <a:gd name="T28" fmla="*/ 329 w 448"/>
              <a:gd name="T29" fmla="*/ 440 h 671"/>
              <a:gd name="T30" fmla="*/ 370 w 448"/>
              <a:gd name="T31" fmla="*/ 351 h 671"/>
              <a:gd name="T32" fmla="*/ 448 w 448"/>
              <a:gd name="T33" fmla="*/ 196 h 671"/>
              <a:gd name="T34" fmla="*/ 362 w 448"/>
              <a:gd name="T35" fmla="*/ 274 h 671"/>
              <a:gd name="T36" fmla="*/ 336 w 448"/>
              <a:gd name="T37" fmla="*/ 303 h 671"/>
              <a:gd name="T38" fmla="*/ 174 w 448"/>
              <a:gd name="T39" fmla="*/ 433 h 671"/>
              <a:gd name="T40" fmla="*/ 99 w 448"/>
              <a:gd name="T41" fmla="*/ 289 h 671"/>
              <a:gd name="T42" fmla="*/ 56 w 448"/>
              <a:gd name="T43" fmla="*/ 196 h 671"/>
              <a:gd name="T44" fmla="*/ 111 w 448"/>
              <a:gd name="T45" fmla="*/ 93 h 671"/>
              <a:gd name="T46" fmla="*/ 224 w 448"/>
              <a:gd name="T47" fmla="*/ 56 h 671"/>
              <a:gd name="T48" fmla="*/ 338 w 448"/>
              <a:gd name="T49" fmla="*/ 93 h 671"/>
              <a:gd name="T50" fmla="*/ 392 w 448"/>
              <a:gd name="T51" fmla="*/ 196 h 671"/>
              <a:gd name="T52" fmla="*/ 306 w 448"/>
              <a:gd name="T53" fmla="*/ 156 h 671"/>
              <a:gd name="T54" fmla="*/ 224 w 448"/>
              <a:gd name="T55" fmla="*/ 126 h 671"/>
              <a:gd name="T56" fmla="*/ 210 w 448"/>
              <a:gd name="T57" fmla="*/ 139 h 671"/>
              <a:gd name="T58" fmla="*/ 224 w 448"/>
              <a:gd name="T59" fmla="*/ 154 h 671"/>
              <a:gd name="T60" fmla="*/ 294 w 448"/>
              <a:gd name="T61" fmla="*/ 196 h 671"/>
              <a:gd name="T62" fmla="*/ 308 w 448"/>
              <a:gd name="T63" fmla="*/ 210 h 671"/>
              <a:gd name="T64" fmla="*/ 322 w 448"/>
              <a:gd name="T65" fmla="*/ 196 h 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48" h="671">
                <a:moveTo>
                  <a:pt x="429" y="115"/>
                </a:moveTo>
                <a:cubicBezTo>
                  <a:pt x="416" y="90"/>
                  <a:pt x="398" y="69"/>
                  <a:pt x="377" y="53"/>
                </a:cubicBezTo>
                <a:cubicBezTo>
                  <a:pt x="356" y="36"/>
                  <a:pt x="332" y="23"/>
                  <a:pt x="306" y="14"/>
                </a:cubicBezTo>
                <a:cubicBezTo>
                  <a:pt x="279" y="4"/>
                  <a:pt x="252" y="0"/>
                  <a:pt x="224" y="0"/>
                </a:cubicBezTo>
                <a:cubicBezTo>
                  <a:pt x="196" y="0"/>
                  <a:pt x="169" y="4"/>
                  <a:pt x="142" y="14"/>
                </a:cubicBezTo>
                <a:cubicBezTo>
                  <a:pt x="116" y="23"/>
                  <a:pt x="92" y="36"/>
                  <a:pt x="71" y="53"/>
                </a:cubicBezTo>
                <a:cubicBezTo>
                  <a:pt x="50" y="69"/>
                  <a:pt x="32" y="90"/>
                  <a:pt x="20" y="115"/>
                </a:cubicBezTo>
                <a:cubicBezTo>
                  <a:pt x="7" y="140"/>
                  <a:pt x="0" y="167"/>
                  <a:pt x="0" y="196"/>
                </a:cubicBezTo>
                <a:cubicBezTo>
                  <a:pt x="0" y="241"/>
                  <a:pt x="15" y="280"/>
                  <a:pt x="45" y="313"/>
                </a:cubicBezTo>
                <a:cubicBezTo>
                  <a:pt x="58" y="327"/>
                  <a:pt x="69" y="340"/>
                  <a:pt x="78" y="351"/>
                </a:cubicBezTo>
                <a:cubicBezTo>
                  <a:pt x="86" y="362"/>
                  <a:pt x="95" y="376"/>
                  <a:pt x="104" y="393"/>
                </a:cubicBezTo>
                <a:cubicBezTo>
                  <a:pt x="112" y="409"/>
                  <a:pt x="117" y="425"/>
                  <a:pt x="119" y="440"/>
                </a:cubicBezTo>
                <a:cubicBezTo>
                  <a:pt x="105" y="448"/>
                  <a:pt x="98" y="460"/>
                  <a:pt x="98" y="475"/>
                </a:cubicBezTo>
                <a:cubicBezTo>
                  <a:pt x="98" y="486"/>
                  <a:pt x="102" y="496"/>
                  <a:pt x="109" y="503"/>
                </a:cubicBezTo>
                <a:cubicBezTo>
                  <a:pt x="102" y="511"/>
                  <a:pt x="98" y="521"/>
                  <a:pt x="98" y="531"/>
                </a:cubicBezTo>
                <a:cubicBezTo>
                  <a:pt x="98" y="547"/>
                  <a:pt x="105" y="558"/>
                  <a:pt x="118" y="567"/>
                </a:cubicBezTo>
                <a:cubicBezTo>
                  <a:pt x="114" y="574"/>
                  <a:pt x="112" y="580"/>
                  <a:pt x="112" y="587"/>
                </a:cubicBezTo>
                <a:cubicBezTo>
                  <a:pt x="112" y="601"/>
                  <a:pt x="117" y="611"/>
                  <a:pt x="126" y="618"/>
                </a:cubicBezTo>
                <a:cubicBezTo>
                  <a:pt x="135" y="626"/>
                  <a:pt x="146" y="629"/>
                  <a:pt x="160" y="629"/>
                </a:cubicBezTo>
                <a:cubicBezTo>
                  <a:pt x="166" y="642"/>
                  <a:pt x="174" y="652"/>
                  <a:pt x="186" y="660"/>
                </a:cubicBezTo>
                <a:cubicBezTo>
                  <a:pt x="198" y="668"/>
                  <a:pt x="210" y="671"/>
                  <a:pt x="224" y="671"/>
                </a:cubicBezTo>
                <a:cubicBezTo>
                  <a:pt x="238" y="671"/>
                  <a:pt x="250" y="668"/>
                  <a:pt x="262" y="660"/>
                </a:cubicBezTo>
                <a:cubicBezTo>
                  <a:pt x="274" y="652"/>
                  <a:pt x="283" y="642"/>
                  <a:pt x="288" y="629"/>
                </a:cubicBezTo>
                <a:cubicBezTo>
                  <a:pt x="302" y="629"/>
                  <a:pt x="313" y="626"/>
                  <a:pt x="322" y="618"/>
                </a:cubicBezTo>
                <a:cubicBezTo>
                  <a:pt x="331" y="611"/>
                  <a:pt x="336" y="601"/>
                  <a:pt x="336" y="587"/>
                </a:cubicBezTo>
                <a:cubicBezTo>
                  <a:pt x="336" y="580"/>
                  <a:pt x="334" y="574"/>
                  <a:pt x="330" y="567"/>
                </a:cubicBezTo>
                <a:cubicBezTo>
                  <a:pt x="343" y="558"/>
                  <a:pt x="350" y="547"/>
                  <a:pt x="350" y="531"/>
                </a:cubicBezTo>
                <a:cubicBezTo>
                  <a:pt x="350" y="521"/>
                  <a:pt x="346" y="511"/>
                  <a:pt x="339" y="503"/>
                </a:cubicBezTo>
                <a:cubicBezTo>
                  <a:pt x="346" y="496"/>
                  <a:pt x="350" y="486"/>
                  <a:pt x="350" y="475"/>
                </a:cubicBezTo>
                <a:cubicBezTo>
                  <a:pt x="350" y="460"/>
                  <a:pt x="343" y="448"/>
                  <a:pt x="329" y="440"/>
                </a:cubicBezTo>
                <a:cubicBezTo>
                  <a:pt x="331" y="425"/>
                  <a:pt x="336" y="409"/>
                  <a:pt x="344" y="393"/>
                </a:cubicBezTo>
                <a:cubicBezTo>
                  <a:pt x="353" y="376"/>
                  <a:pt x="362" y="362"/>
                  <a:pt x="370" y="351"/>
                </a:cubicBezTo>
                <a:cubicBezTo>
                  <a:pt x="379" y="340"/>
                  <a:pt x="390" y="327"/>
                  <a:pt x="403" y="313"/>
                </a:cubicBezTo>
                <a:cubicBezTo>
                  <a:pt x="433" y="280"/>
                  <a:pt x="448" y="241"/>
                  <a:pt x="448" y="196"/>
                </a:cubicBezTo>
                <a:cubicBezTo>
                  <a:pt x="448" y="167"/>
                  <a:pt x="442" y="140"/>
                  <a:pt x="429" y="115"/>
                </a:cubicBezTo>
                <a:close/>
                <a:moveTo>
                  <a:pt x="362" y="274"/>
                </a:moveTo>
                <a:cubicBezTo>
                  <a:pt x="359" y="278"/>
                  <a:pt x="355" y="282"/>
                  <a:pt x="349" y="289"/>
                </a:cubicBezTo>
                <a:cubicBezTo>
                  <a:pt x="343" y="295"/>
                  <a:pt x="338" y="300"/>
                  <a:pt x="336" y="303"/>
                </a:cubicBezTo>
                <a:cubicBezTo>
                  <a:pt x="298" y="348"/>
                  <a:pt x="278" y="391"/>
                  <a:pt x="274" y="433"/>
                </a:cubicBezTo>
                <a:cubicBezTo>
                  <a:pt x="174" y="433"/>
                  <a:pt x="174" y="433"/>
                  <a:pt x="174" y="433"/>
                </a:cubicBezTo>
                <a:cubicBezTo>
                  <a:pt x="170" y="391"/>
                  <a:pt x="150" y="348"/>
                  <a:pt x="112" y="303"/>
                </a:cubicBezTo>
                <a:cubicBezTo>
                  <a:pt x="110" y="300"/>
                  <a:pt x="105" y="295"/>
                  <a:pt x="99" y="289"/>
                </a:cubicBezTo>
                <a:cubicBezTo>
                  <a:pt x="93" y="282"/>
                  <a:pt x="89" y="278"/>
                  <a:pt x="86" y="274"/>
                </a:cubicBezTo>
                <a:cubicBezTo>
                  <a:pt x="66" y="251"/>
                  <a:pt x="56" y="225"/>
                  <a:pt x="56" y="196"/>
                </a:cubicBezTo>
                <a:cubicBezTo>
                  <a:pt x="56" y="175"/>
                  <a:pt x="61" y="155"/>
                  <a:pt x="71" y="137"/>
                </a:cubicBezTo>
                <a:cubicBezTo>
                  <a:pt x="81" y="119"/>
                  <a:pt x="94" y="104"/>
                  <a:pt x="111" y="93"/>
                </a:cubicBezTo>
                <a:cubicBezTo>
                  <a:pt x="127" y="81"/>
                  <a:pt x="145" y="72"/>
                  <a:pt x="164" y="65"/>
                </a:cubicBezTo>
                <a:cubicBezTo>
                  <a:pt x="184" y="59"/>
                  <a:pt x="204" y="56"/>
                  <a:pt x="224" y="56"/>
                </a:cubicBezTo>
                <a:cubicBezTo>
                  <a:pt x="244" y="56"/>
                  <a:pt x="264" y="59"/>
                  <a:pt x="284" y="65"/>
                </a:cubicBezTo>
                <a:cubicBezTo>
                  <a:pt x="303" y="72"/>
                  <a:pt x="321" y="81"/>
                  <a:pt x="338" y="93"/>
                </a:cubicBezTo>
                <a:cubicBezTo>
                  <a:pt x="354" y="104"/>
                  <a:pt x="367" y="119"/>
                  <a:pt x="377" y="137"/>
                </a:cubicBezTo>
                <a:cubicBezTo>
                  <a:pt x="387" y="155"/>
                  <a:pt x="392" y="175"/>
                  <a:pt x="392" y="196"/>
                </a:cubicBezTo>
                <a:cubicBezTo>
                  <a:pt x="392" y="225"/>
                  <a:pt x="382" y="251"/>
                  <a:pt x="362" y="274"/>
                </a:cubicBezTo>
                <a:close/>
                <a:moveTo>
                  <a:pt x="306" y="156"/>
                </a:moveTo>
                <a:cubicBezTo>
                  <a:pt x="295" y="145"/>
                  <a:pt x="282" y="137"/>
                  <a:pt x="268" y="133"/>
                </a:cubicBezTo>
                <a:cubicBezTo>
                  <a:pt x="253" y="128"/>
                  <a:pt x="239" y="126"/>
                  <a:pt x="224" y="126"/>
                </a:cubicBezTo>
                <a:cubicBezTo>
                  <a:pt x="214" y="130"/>
                  <a:pt x="214" y="130"/>
                  <a:pt x="214" y="130"/>
                </a:cubicBezTo>
                <a:cubicBezTo>
                  <a:pt x="210" y="139"/>
                  <a:pt x="210" y="139"/>
                  <a:pt x="210" y="139"/>
                </a:cubicBezTo>
                <a:cubicBezTo>
                  <a:pt x="214" y="149"/>
                  <a:pt x="214" y="149"/>
                  <a:pt x="214" y="149"/>
                </a:cubicBezTo>
                <a:cubicBezTo>
                  <a:pt x="224" y="154"/>
                  <a:pt x="224" y="154"/>
                  <a:pt x="224" y="154"/>
                </a:cubicBezTo>
                <a:cubicBezTo>
                  <a:pt x="239" y="154"/>
                  <a:pt x="255" y="157"/>
                  <a:pt x="270" y="164"/>
                </a:cubicBezTo>
                <a:cubicBezTo>
                  <a:pt x="286" y="172"/>
                  <a:pt x="294" y="182"/>
                  <a:pt x="294" y="196"/>
                </a:cubicBezTo>
                <a:cubicBezTo>
                  <a:pt x="298" y="205"/>
                  <a:pt x="298" y="205"/>
                  <a:pt x="298" y="205"/>
                </a:cubicBezTo>
                <a:cubicBezTo>
                  <a:pt x="308" y="210"/>
                  <a:pt x="308" y="210"/>
                  <a:pt x="308" y="210"/>
                </a:cubicBezTo>
                <a:cubicBezTo>
                  <a:pt x="318" y="205"/>
                  <a:pt x="318" y="205"/>
                  <a:pt x="318" y="205"/>
                </a:cubicBezTo>
                <a:cubicBezTo>
                  <a:pt x="322" y="196"/>
                  <a:pt x="322" y="196"/>
                  <a:pt x="322" y="196"/>
                </a:cubicBezTo>
                <a:cubicBezTo>
                  <a:pt x="322" y="180"/>
                  <a:pt x="317" y="167"/>
                  <a:pt x="306" y="156"/>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Tree>
    <p:extLst>
      <p:ext uri="{BB962C8B-B14F-4D97-AF65-F5344CB8AC3E}">
        <p14:creationId xmlns:p14="http://schemas.microsoft.com/office/powerpoint/2010/main" val="3275781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The workplace of the future</a:t>
            </a:r>
            <a:endParaRPr lang="en-CA" dirty="0"/>
          </a:p>
        </p:txBody>
      </p:sp>
      <p:sp>
        <p:nvSpPr>
          <p:cNvPr id="4" name="Rectangle 3"/>
          <p:cNvSpPr/>
          <p:nvPr/>
        </p:nvSpPr>
        <p:spPr>
          <a:xfrm>
            <a:off x="508759" y="1553092"/>
            <a:ext cx="10299700" cy="923330"/>
          </a:xfrm>
          <a:prstGeom prst="rect">
            <a:avLst/>
          </a:prstGeom>
        </p:spPr>
        <p:txBody>
          <a:bodyPr wrap="square">
            <a:spAutoFit/>
          </a:bodyPr>
          <a:lstStyle/>
          <a:p>
            <a:r>
              <a:rPr lang="en-CA" dirty="0" smtClean="0">
                <a:solidFill>
                  <a:schemeClr val="tx2"/>
                </a:solidFill>
              </a:rPr>
              <a:t>[Above and beyond the organization’s modernization strategy and the modernization of the workplace, there are opportunities to rethink what the future of the workplace will be. Include what the organization is thinking, envisioning, assessing on this matter that will have an influence on the future workplace.­] </a:t>
            </a:r>
          </a:p>
        </p:txBody>
      </p:sp>
      <p:sp>
        <p:nvSpPr>
          <p:cNvPr id="3" name="TextBox 2"/>
          <p:cNvSpPr txBox="1"/>
          <p:nvPr/>
        </p:nvSpPr>
        <p:spPr>
          <a:xfrm>
            <a:off x="508759" y="2920570"/>
            <a:ext cx="10541000" cy="1736646"/>
          </a:xfrm>
          <a:prstGeom prst="bracketPair">
            <a:avLst/>
          </a:prstGeom>
          <a:noFill/>
          <a:ln>
            <a:solidFill>
              <a:schemeClr val="accent5"/>
            </a:solidFill>
          </a:ln>
        </p:spPr>
        <p:txBody>
          <a:bodyPr wrap="square" rtlCol="0">
            <a:spAutoFit/>
          </a:bodyPr>
          <a:lstStyle/>
          <a:p>
            <a:r>
              <a:rPr lang="en-CA" sz="1600" b="1" i="1" dirty="0" smtClean="0">
                <a:solidFill>
                  <a:srgbClr val="000000"/>
                </a:solidFill>
              </a:rPr>
              <a:t>Examples:</a:t>
            </a:r>
          </a:p>
          <a:p>
            <a:pPr marL="285750" indent="-285750">
              <a:buFont typeface="Arial" panose="020B0604020202020204" pitchFamily="34" charset="0"/>
              <a:buChar char="•"/>
            </a:pPr>
            <a:r>
              <a:rPr lang="en-CA" sz="1600" i="1" dirty="0" smtClean="0">
                <a:solidFill>
                  <a:srgbClr val="000000"/>
                </a:solidFill>
              </a:rPr>
              <a:t>What we have learned this last year</a:t>
            </a:r>
          </a:p>
          <a:p>
            <a:pPr marL="285750" indent="-285750">
              <a:buFont typeface="Arial" panose="020B0604020202020204" pitchFamily="34" charset="0"/>
              <a:buChar char="•"/>
            </a:pPr>
            <a:r>
              <a:rPr lang="en-CA" sz="1600" i="1" dirty="0" smtClean="0">
                <a:solidFill>
                  <a:srgbClr val="000000"/>
                </a:solidFill>
              </a:rPr>
              <a:t>How what we have learned can be turned into opportunities</a:t>
            </a:r>
          </a:p>
          <a:p>
            <a:pPr marL="285750" indent="-285750">
              <a:buFont typeface="Arial" panose="020B0604020202020204" pitchFamily="34" charset="0"/>
              <a:buChar char="•"/>
            </a:pPr>
            <a:r>
              <a:rPr lang="en-CA" sz="1600" i="1" dirty="0" smtClean="0">
                <a:solidFill>
                  <a:srgbClr val="000000"/>
                </a:solidFill>
              </a:rPr>
              <a:t>Opportunities to rethink the way we deliver our business, to integrate new ways of working, providing employees with flexibility and mobility, etc.</a:t>
            </a:r>
          </a:p>
          <a:p>
            <a:pPr marL="285750" indent="-285750">
              <a:buFont typeface="Arial" panose="020B0604020202020204" pitchFamily="34" charset="0"/>
              <a:buChar char="•"/>
            </a:pPr>
            <a:r>
              <a:rPr lang="en-CA" sz="1600" i="1" dirty="0" smtClean="0">
                <a:solidFill>
                  <a:srgbClr val="000000"/>
                </a:solidFill>
              </a:rPr>
              <a:t>Include data, if available</a:t>
            </a:r>
          </a:p>
        </p:txBody>
      </p:sp>
      <p:sp>
        <p:nvSpPr>
          <p:cNvPr id="9" name="TextBox 8"/>
          <p:cNvSpPr txBox="1"/>
          <p:nvPr/>
        </p:nvSpPr>
        <p:spPr>
          <a:xfrm>
            <a:off x="7021843" y="5802813"/>
            <a:ext cx="5079626" cy="374571"/>
          </a:xfrm>
          <a:prstGeom prst="roundRect">
            <a:avLst/>
          </a:prstGeom>
          <a:solidFill>
            <a:srgbClr val="FFC000"/>
          </a:solidFill>
        </p:spPr>
        <p:txBody>
          <a:bodyPr wrap="square" rtlCol="0">
            <a:spAutoFit/>
          </a:bodyPr>
          <a:lstStyle/>
          <a:p>
            <a:pPr algn="r"/>
            <a:r>
              <a:rPr lang="fr-CA" sz="1600" i="1" dirty="0" smtClean="0">
                <a:solidFill>
                  <a:schemeClr val="tx2"/>
                </a:solidFill>
              </a:rPr>
              <a:t>Should be presented by the </a:t>
            </a:r>
            <a:r>
              <a:rPr lang="fr-CA" sz="1600" i="1" dirty="0" err="1" smtClean="0">
                <a:solidFill>
                  <a:schemeClr val="tx2"/>
                </a:solidFill>
              </a:rPr>
              <a:t>project</a:t>
            </a:r>
            <a:r>
              <a:rPr lang="fr-CA" sz="1600" i="1" dirty="0" smtClean="0">
                <a:solidFill>
                  <a:schemeClr val="tx2"/>
                </a:solidFill>
              </a:rPr>
              <a:t> sponsor or champion</a:t>
            </a:r>
            <a:endParaRPr lang="fr-CA" sz="1600" i="1" dirty="0">
              <a:solidFill>
                <a:schemeClr val="tx2"/>
              </a:solidFill>
            </a:endParaRPr>
          </a:p>
        </p:txBody>
      </p:sp>
      <p:sp>
        <p:nvSpPr>
          <p:cNvPr id="10" name="Freeform 9" descr="LightBulb Icon"/>
          <p:cNvSpPr>
            <a:spLocks noEditPoints="1"/>
          </p:cNvSpPr>
          <p:nvPr/>
        </p:nvSpPr>
        <p:spPr bwMode="auto">
          <a:xfrm rot="20843298">
            <a:off x="7063807" y="5780622"/>
            <a:ext cx="312771" cy="418948"/>
          </a:xfrm>
          <a:custGeom>
            <a:avLst/>
            <a:gdLst>
              <a:gd name="T0" fmla="*/ 377 w 448"/>
              <a:gd name="T1" fmla="*/ 53 h 671"/>
              <a:gd name="T2" fmla="*/ 224 w 448"/>
              <a:gd name="T3" fmla="*/ 0 h 671"/>
              <a:gd name="T4" fmla="*/ 71 w 448"/>
              <a:gd name="T5" fmla="*/ 53 h 671"/>
              <a:gd name="T6" fmla="*/ 0 w 448"/>
              <a:gd name="T7" fmla="*/ 196 h 671"/>
              <a:gd name="T8" fmla="*/ 78 w 448"/>
              <a:gd name="T9" fmla="*/ 351 h 671"/>
              <a:gd name="T10" fmla="*/ 119 w 448"/>
              <a:gd name="T11" fmla="*/ 440 h 671"/>
              <a:gd name="T12" fmla="*/ 109 w 448"/>
              <a:gd name="T13" fmla="*/ 503 h 671"/>
              <a:gd name="T14" fmla="*/ 118 w 448"/>
              <a:gd name="T15" fmla="*/ 567 h 671"/>
              <a:gd name="T16" fmla="*/ 126 w 448"/>
              <a:gd name="T17" fmla="*/ 618 h 671"/>
              <a:gd name="T18" fmla="*/ 186 w 448"/>
              <a:gd name="T19" fmla="*/ 660 h 671"/>
              <a:gd name="T20" fmla="*/ 262 w 448"/>
              <a:gd name="T21" fmla="*/ 660 h 671"/>
              <a:gd name="T22" fmla="*/ 322 w 448"/>
              <a:gd name="T23" fmla="*/ 618 h 671"/>
              <a:gd name="T24" fmla="*/ 330 w 448"/>
              <a:gd name="T25" fmla="*/ 567 h 671"/>
              <a:gd name="T26" fmla="*/ 339 w 448"/>
              <a:gd name="T27" fmla="*/ 503 h 671"/>
              <a:gd name="T28" fmla="*/ 329 w 448"/>
              <a:gd name="T29" fmla="*/ 440 h 671"/>
              <a:gd name="T30" fmla="*/ 370 w 448"/>
              <a:gd name="T31" fmla="*/ 351 h 671"/>
              <a:gd name="T32" fmla="*/ 448 w 448"/>
              <a:gd name="T33" fmla="*/ 196 h 671"/>
              <a:gd name="T34" fmla="*/ 362 w 448"/>
              <a:gd name="T35" fmla="*/ 274 h 671"/>
              <a:gd name="T36" fmla="*/ 336 w 448"/>
              <a:gd name="T37" fmla="*/ 303 h 671"/>
              <a:gd name="T38" fmla="*/ 174 w 448"/>
              <a:gd name="T39" fmla="*/ 433 h 671"/>
              <a:gd name="T40" fmla="*/ 99 w 448"/>
              <a:gd name="T41" fmla="*/ 289 h 671"/>
              <a:gd name="T42" fmla="*/ 56 w 448"/>
              <a:gd name="T43" fmla="*/ 196 h 671"/>
              <a:gd name="T44" fmla="*/ 111 w 448"/>
              <a:gd name="T45" fmla="*/ 93 h 671"/>
              <a:gd name="T46" fmla="*/ 224 w 448"/>
              <a:gd name="T47" fmla="*/ 56 h 671"/>
              <a:gd name="T48" fmla="*/ 338 w 448"/>
              <a:gd name="T49" fmla="*/ 93 h 671"/>
              <a:gd name="T50" fmla="*/ 392 w 448"/>
              <a:gd name="T51" fmla="*/ 196 h 671"/>
              <a:gd name="T52" fmla="*/ 306 w 448"/>
              <a:gd name="T53" fmla="*/ 156 h 671"/>
              <a:gd name="T54" fmla="*/ 224 w 448"/>
              <a:gd name="T55" fmla="*/ 126 h 671"/>
              <a:gd name="T56" fmla="*/ 210 w 448"/>
              <a:gd name="T57" fmla="*/ 139 h 671"/>
              <a:gd name="T58" fmla="*/ 224 w 448"/>
              <a:gd name="T59" fmla="*/ 154 h 671"/>
              <a:gd name="T60" fmla="*/ 294 w 448"/>
              <a:gd name="T61" fmla="*/ 196 h 671"/>
              <a:gd name="T62" fmla="*/ 308 w 448"/>
              <a:gd name="T63" fmla="*/ 210 h 671"/>
              <a:gd name="T64" fmla="*/ 322 w 448"/>
              <a:gd name="T65" fmla="*/ 196 h 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48" h="671">
                <a:moveTo>
                  <a:pt x="429" y="115"/>
                </a:moveTo>
                <a:cubicBezTo>
                  <a:pt x="416" y="90"/>
                  <a:pt x="398" y="69"/>
                  <a:pt x="377" y="53"/>
                </a:cubicBezTo>
                <a:cubicBezTo>
                  <a:pt x="356" y="36"/>
                  <a:pt x="332" y="23"/>
                  <a:pt x="306" y="14"/>
                </a:cubicBezTo>
                <a:cubicBezTo>
                  <a:pt x="279" y="4"/>
                  <a:pt x="252" y="0"/>
                  <a:pt x="224" y="0"/>
                </a:cubicBezTo>
                <a:cubicBezTo>
                  <a:pt x="196" y="0"/>
                  <a:pt x="169" y="4"/>
                  <a:pt x="142" y="14"/>
                </a:cubicBezTo>
                <a:cubicBezTo>
                  <a:pt x="116" y="23"/>
                  <a:pt x="92" y="36"/>
                  <a:pt x="71" y="53"/>
                </a:cubicBezTo>
                <a:cubicBezTo>
                  <a:pt x="50" y="69"/>
                  <a:pt x="32" y="90"/>
                  <a:pt x="20" y="115"/>
                </a:cubicBezTo>
                <a:cubicBezTo>
                  <a:pt x="7" y="140"/>
                  <a:pt x="0" y="167"/>
                  <a:pt x="0" y="196"/>
                </a:cubicBezTo>
                <a:cubicBezTo>
                  <a:pt x="0" y="241"/>
                  <a:pt x="15" y="280"/>
                  <a:pt x="45" y="313"/>
                </a:cubicBezTo>
                <a:cubicBezTo>
                  <a:pt x="58" y="327"/>
                  <a:pt x="69" y="340"/>
                  <a:pt x="78" y="351"/>
                </a:cubicBezTo>
                <a:cubicBezTo>
                  <a:pt x="86" y="362"/>
                  <a:pt x="95" y="376"/>
                  <a:pt x="104" y="393"/>
                </a:cubicBezTo>
                <a:cubicBezTo>
                  <a:pt x="112" y="409"/>
                  <a:pt x="117" y="425"/>
                  <a:pt x="119" y="440"/>
                </a:cubicBezTo>
                <a:cubicBezTo>
                  <a:pt x="105" y="448"/>
                  <a:pt x="98" y="460"/>
                  <a:pt x="98" y="475"/>
                </a:cubicBezTo>
                <a:cubicBezTo>
                  <a:pt x="98" y="486"/>
                  <a:pt x="102" y="496"/>
                  <a:pt x="109" y="503"/>
                </a:cubicBezTo>
                <a:cubicBezTo>
                  <a:pt x="102" y="511"/>
                  <a:pt x="98" y="521"/>
                  <a:pt x="98" y="531"/>
                </a:cubicBezTo>
                <a:cubicBezTo>
                  <a:pt x="98" y="547"/>
                  <a:pt x="105" y="558"/>
                  <a:pt x="118" y="567"/>
                </a:cubicBezTo>
                <a:cubicBezTo>
                  <a:pt x="114" y="574"/>
                  <a:pt x="112" y="580"/>
                  <a:pt x="112" y="587"/>
                </a:cubicBezTo>
                <a:cubicBezTo>
                  <a:pt x="112" y="601"/>
                  <a:pt x="117" y="611"/>
                  <a:pt x="126" y="618"/>
                </a:cubicBezTo>
                <a:cubicBezTo>
                  <a:pt x="135" y="626"/>
                  <a:pt x="146" y="629"/>
                  <a:pt x="160" y="629"/>
                </a:cubicBezTo>
                <a:cubicBezTo>
                  <a:pt x="166" y="642"/>
                  <a:pt x="174" y="652"/>
                  <a:pt x="186" y="660"/>
                </a:cubicBezTo>
                <a:cubicBezTo>
                  <a:pt x="198" y="668"/>
                  <a:pt x="210" y="671"/>
                  <a:pt x="224" y="671"/>
                </a:cubicBezTo>
                <a:cubicBezTo>
                  <a:pt x="238" y="671"/>
                  <a:pt x="250" y="668"/>
                  <a:pt x="262" y="660"/>
                </a:cubicBezTo>
                <a:cubicBezTo>
                  <a:pt x="274" y="652"/>
                  <a:pt x="283" y="642"/>
                  <a:pt x="288" y="629"/>
                </a:cubicBezTo>
                <a:cubicBezTo>
                  <a:pt x="302" y="629"/>
                  <a:pt x="313" y="626"/>
                  <a:pt x="322" y="618"/>
                </a:cubicBezTo>
                <a:cubicBezTo>
                  <a:pt x="331" y="611"/>
                  <a:pt x="336" y="601"/>
                  <a:pt x="336" y="587"/>
                </a:cubicBezTo>
                <a:cubicBezTo>
                  <a:pt x="336" y="580"/>
                  <a:pt x="334" y="574"/>
                  <a:pt x="330" y="567"/>
                </a:cubicBezTo>
                <a:cubicBezTo>
                  <a:pt x="343" y="558"/>
                  <a:pt x="350" y="547"/>
                  <a:pt x="350" y="531"/>
                </a:cubicBezTo>
                <a:cubicBezTo>
                  <a:pt x="350" y="521"/>
                  <a:pt x="346" y="511"/>
                  <a:pt x="339" y="503"/>
                </a:cubicBezTo>
                <a:cubicBezTo>
                  <a:pt x="346" y="496"/>
                  <a:pt x="350" y="486"/>
                  <a:pt x="350" y="475"/>
                </a:cubicBezTo>
                <a:cubicBezTo>
                  <a:pt x="350" y="460"/>
                  <a:pt x="343" y="448"/>
                  <a:pt x="329" y="440"/>
                </a:cubicBezTo>
                <a:cubicBezTo>
                  <a:pt x="331" y="425"/>
                  <a:pt x="336" y="409"/>
                  <a:pt x="344" y="393"/>
                </a:cubicBezTo>
                <a:cubicBezTo>
                  <a:pt x="353" y="376"/>
                  <a:pt x="362" y="362"/>
                  <a:pt x="370" y="351"/>
                </a:cubicBezTo>
                <a:cubicBezTo>
                  <a:pt x="379" y="340"/>
                  <a:pt x="390" y="327"/>
                  <a:pt x="403" y="313"/>
                </a:cubicBezTo>
                <a:cubicBezTo>
                  <a:pt x="433" y="280"/>
                  <a:pt x="448" y="241"/>
                  <a:pt x="448" y="196"/>
                </a:cubicBezTo>
                <a:cubicBezTo>
                  <a:pt x="448" y="167"/>
                  <a:pt x="442" y="140"/>
                  <a:pt x="429" y="115"/>
                </a:cubicBezTo>
                <a:close/>
                <a:moveTo>
                  <a:pt x="362" y="274"/>
                </a:moveTo>
                <a:cubicBezTo>
                  <a:pt x="359" y="278"/>
                  <a:pt x="355" y="282"/>
                  <a:pt x="349" y="289"/>
                </a:cubicBezTo>
                <a:cubicBezTo>
                  <a:pt x="343" y="295"/>
                  <a:pt x="338" y="300"/>
                  <a:pt x="336" y="303"/>
                </a:cubicBezTo>
                <a:cubicBezTo>
                  <a:pt x="298" y="348"/>
                  <a:pt x="278" y="391"/>
                  <a:pt x="274" y="433"/>
                </a:cubicBezTo>
                <a:cubicBezTo>
                  <a:pt x="174" y="433"/>
                  <a:pt x="174" y="433"/>
                  <a:pt x="174" y="433"/>
                </a:cubicBezTo>
                <a:cubicBezTo>
                  <a:pt x="170" y="391"/>
                  <a:pt x="150" y="348"/>
                  <a:pt x="112" y="303"/>
                </a:cubicBezTo>
                <a:cubicBezTo>
                  <a:pt x="110" y="300"/>
                  <a:pt x="105" y="295"/>
                  <a:pt x="99" y="289"/>
                </a:cubicBezTo>
                <a:cubicBezTo>
                  <a:pt x="93" y="282"/>
                  <a:pt x="89" y="278"/>
                  <a:pt x="86" y="274"/>
                </a:cubicBezTo>
                <a:cubicBezTo>
                  <a:pt x="66" y="251"/>
                  <a:pt x="56" y="225"/>
                  <a:pt x="56" y="196"/>
                </a:cubicBezTo>
                <a:cubicBezTo>
                  <a:pt x="56" y="175"/>
                  <a:pt x="61" y="155"/>
                  <a:pt x="71" y="137"/>
                </a:cubicBezTo>
                <a:cubicBezTo>
                  <a:pt x="81" y="119"/>
                  <a:pt x="94" y="104"/>
                  <a:pt x="111" y="93"/>
                </a:cubicBezTo>
                <a:cubicBezTo>
                  <a:pt x="127" y="81"/>
                  <a:pt x="145" y="72"/>
                  <a:pt x="164" y="65"/>
                </a:cubicBezTo>
                <a:cubicBezTo>
                  <a:pt x="184" y="59"/>
                  <a:pt x="204" y="56"/>
                  <a:pt x="224" y="56"/>
                </a:cubicBezTo>
                <a:cubicBezTo>
                  <a:pt x="244" y="56"/>
                  <a:pt x="264" y="59"/>
                  <a:pt x="284" y="65"/>
                </a:cubicBezTo>
                <a:cubicBezTo>
                  <a:pt x="303" y="72"/>
                  <a:pt x="321" y="81"/>
                  <a:pt x="338" y="93"/>
                </a:cubicBezTo>
                <a:cubicBezTo>
                  <a:pt x="354" y="104"/>
                  <a:pt x="367" y="119"/>
                  <a:pt x="377" y="137"/>
                </a:cubicBezTo>
                <a:cubicBezTo>
                  <a:pt x="387" y="155"/>
                  <a:pt x="392" y="175"/>
                  <a:pt x="392" y="196"/>
                </a:cubicBezTo>
                <a:cubicBezTo>
                  <a:pt x="392" y="225"/>
                  <a:pt x="382" y="251"/>
                  <a:pt x="362" y="274"/>
                </a:cubicBezTo>
                <a:close/>
                <a:moveTo>
                  <a:pt x="306" y="156"/>
                </a:moveTo>
                <a:cubicBezTo>
                  <a:pt x="295" y="145"/>
                  <a:pt x="282" y="137"/>
                  <a:pt x="268" y="133"/>
                </a:cubicBezTo>
                <a:cubicBezTo>
                  <a:pt x="253" y="128"/>
                  <a:pt x="239" y="126"/>
                  <a:pt x="224" y="126"/>
                </a:cubicBezTo>
                <a:cubicBezTo>
                  <a:pt x="214" y="130"/>
                  <a:pt x="214" y="130"/>
                  <a:pt x="214" y="130"/>
                </a:cubicBezTo>
                <a:cubicBezTo>
                  <a:pt x="210" y="139"/>
                  <a:pt x="210" y="139"/>
                  <a:pt x="210" y="139"/>
                </a:cubicBezTo>
                <a:cubicBezTo>
                  <a:pt x="214" y="149"/>
                  <a:pt x="214" y="149"/>
                  <a:pt x="214" y="149"/>
                </a:cubicBezTo>
                <a:cubicBezTo>
                  <a:pt x="224" y="154"/>
                  <a:pt x="224" y="154"/>
                  <a:pt x="224" y="154"/>
                </a:cubicBezTo>
                <a:cubicBezTo>
                  <a:pt x="239" y="154"/>
                  <a:pt x="255" y="157"/>
                  <a:pt x="270" y="164"/>
                </a:cubicBezTo>
                <a:cubicBezTo>
                  <a:pt x="286" y="172"/>
                  <a:pt x="294" y="182"/>
                  <a:pt x="294" y="196"/>
                </a:cubicBezTo>
                <a:cubicBezTo>
                  <a:pt x="298" y="205"/>
                  <a:pt x="298" y="205"/>
                  <a:pt x="298" y="205"/>
                </a:cubicBezTo>
                <a:cubicBezTo>
                  <a:pt x="308" y="210"/>
                  <a:pt x="308" y="210"/>
                  <a:pt x="308" y="210"/>
                </a:cubicBezTo>
                <a:cubicBezTo>
                  <a:pt x="318" y="205"/>
                  <a:pt x="318" y="205"/>
                  <a:pt x="318" y="205"/>
                </a:cubicBezTo>
                <a:cubicBezTo>
                  <a:pt x="322" y="196"/>
                  <a:pt x="322" y="196"/>
                  <a:pt x="322" y="196"/>
                </a:cubicBezTo>
                <a:cubicBezTo>
                  <a:pt x="322" y="180"/>
                  <a:pt x="317" y="167"/>
                  <a:pt x="306" y="156"/>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Tree>
    <p:extLst>
      <p:ext uri="{BB962C8B-B14F-4D97-AF65-F5344CB8AC3E}">
        <p14:creationId xmlns:p14="http://schemas.microsoft.com/office/powerpoint/2010/main" val="386283737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CA" dirty="0" smtClean="0"/>
              <a:t>What will the future workplace look like?</a:t>
            </a:r>
            <a:endParaRPr lang="en-CA" dirty="0"/>
          </a:p>
        </p:txBody>
      </p:sp>
      <p:sp>
        <p:nvSpPr>
          <p:cNvPr id="3" name="TextBox 2"/>
          <p:cNvSpPr txBox="1"/>
          <p:nvPr/>
        </p:nvSpPr>
        <p:spPr>
          <a:xfrm>
            <a:off x="508759" y="1695960"/>
            <a:ext cx="9787467" cy="1736646"/>
          </a:xfrm>
          <a:prstGeom prst="bracketPair">
            <a:avLst/>
          </a:prstGeom>
          <a:noFill/>
          <a:ln>
            <a:solidFill>
              <a:schemeClr val="accent5"/>
            </a:solidFill>
          </a:ln>
        </p:spPr>
        <p:txBody>
          <a:bodyPr wrap="square" rtlCol="0">
            <a:spAutoFit/>
          </a:bodyPr>
          <a:lstStyle/>
          <a:p>
            <a:r>
              <a:rPr lang="en-CA" sz="1600" i="1" dirty="0" smtClean="0"/>
              <a:t>If available, integrate elements such as:</a:t>
            </a:r>
          </a:p>
          <a:p>
            <a:pPr marL="285750" indent="-285750">
              <a:buFont typeface="Arial" panose="020B0604020202020204" pitchFamily="34" charset="0"/>
              <a:buChar char="•"/>
            </a:pPr>
            <a:r>
              <a:rPr lang="en-CA" sz="1600" i="1" dirty="0"/>
              <a:t>a</a:t>
            </a:r>
            <a:r>
              <a:rPr lang="en-CA" sz="1600" i="1" dirty="0" smtClean="0"/>
              <a:t>n integrated approach (IT tools, IM, Security, HR, etc.) to support employees’ experience</a:t>
            </a:r>
          </a:p>
          <a:p>
            <a:pPr marL="285750" indent="-285750">
              <a:buFont typeface="Arial" panose="020B0604020202020204" pitchFamily="34" charset="0"/>
              <a:buChar char="•"/>
            </a:pPr>
            <a:r>
              <a:rPr lang="en-CA" sz="1600" i="1" dirty="0"/>
              <a:t>d</a:t>
            </a:r>
            <a:r>
              <a:rPr lang="en-CA" sz="1600" i="1" dirty="0" smtClean="0"/>
              <a:t>esign concept―the what and the </a:t>
            </a:r>
            <a:r>
              <a:rPr lang="en-CA" sz="1600" i="1" dirty="0"/>
              <a:t>how―</a:t>
            </a:r>
            <a:r>
              <a:rPr lang="en-CA" sz="1600" i="1" dirty="0" err="1"/>
              <a:t>GCworkplace</a:t>
            </a:r>
            <a:r>
              <a:rPr lang="en-CA" sz="1600" i="1" dirty="0"/>
              <a:t> </a:t>
            </a:r>
            <a:r>
              <a:rPr lang="en-CA" sz="1600" i="1" dirty="0" smtClean="0"/>
              <a:t>key design principles, activity-based workplace, design process, etc.</a:t>
            </a:r>
          </a:p>
          <a:p>
            <a:pPr marL="285750" indent="-285750">
              <a:buFont typeface="Arial" panose="020B0604020202020204" pitchFamily="34" charset="0"/>
              <a:buChar char="•"/>
            </a:pPr>
            <a:r>
              <a:rPr lang="en-CA" sz="1600" i="1" dirty="0" smtClean="0"/>
              <a:t>Show inspirational pictures (would </a:t>
            </a:r>
            <a:r>
              <a:rPr lang="en-CA" sz="1600" i="1" u="sng" dirty="0" smtClean="0"/>
              <a:t>NOT</a:t>
            </a:r>
            <a:r>
              <a:rPr lang="en-CA" sz="1600" i="1" dirty="0" smtClean="0"/>
              <a:t> recommend showing floor plans at this </a:t>
            </a:r>
            <a:r>
              <a:rPr lang="en-CA" sz="1600" i="1" smtClean="0"/>
              <a:t>point)</a:t>
            </a:r>
          </a:p>
          <a:p>
            <a:pPr marL="285750" indent="-285750">
              <a:buFont typeface="Arial" panose="020B0604020202020204" pitchFamily="34" charset="0"/>
              <a:buChar char="•"/>
            </a:pPr>
            <a:r>
              <a:rPr lang="fr-CA" sz="1600" b="1">
                <a:hlinkClick r:id="rId2"/>
              </a:rPr>
              <a:t>Workplace Change Management-Quick </a:t>
            </a:r>
            <a:r>
              <a:rPr lang="fr-CA" sz="1600" b="1" smtClean="0">
                <a:hlinkClick r:id="rId2"/>
              </a:rPr>
              <a:t>links</a:t>
            </a:r>
            <a:endParaRPr lang="fr-CA" sz="1600"/>
          </a:p>
        </p:txBody>
      </p:sp>
    </p:spTree>
    <p:extLst>
      <p:ext uri="{BB962C8B-B14F-4D97-AF65-F5344CB8AC3E}">
        <p14:creationId xmlns:p14="http://schemas.microsoft.com/office/powerpoint/2010/main" val="410703131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Project(s) timeline</a:t>
            </a:r>
            <a:endParaRPr lang="en-CA" dirty="0"/>
          </a:p>
        </p:txBody>
      </p:sp>
      <p:sp>
        <p:nvSpPr>
          <p:cNvPr id="3" name="Double Bracket 2"/>
          <p:cNvSpPr/>
          <p:nvPr/>
        </p:nvSpPr>
        <p:spPr>
          <a:xfrm>
            <a:off x="508759" y="1625307"/>
            <a:ext cx="10156115" cy="715089"/>
          </a:xfrm>
          <a:prstGeom prst="bracketPair">
            <a:avLst/>
          </a:prstGeom>
          <a:ln>
            <a:noFill/>
          </a:ln>
        </p:spPr>
        <p:txBody>
          <a:bodyPr wrap="square">
            <a:spAutoFit/>
          </a:bodyPr>
          <a:lstStyle/>
          <a:p>
            <a:r>
              <a:rPr lang="en-CA" dirty="0" smtClean="0">
                <a:solidFill>
                  <a:schemeClr val="tx2"/>
                </a:solidFill>
              </a:rPr>
              <a:t>[Include project(s) timeline (high level visual). Could also include how the project fits into upcoming complex modernization, bigger project, etc. ­] </a:t>
            </a:r>
          </a:p>
        </p:txBody>
      </p:sp>
    </p:spTree>
    <p:extLst>
      <p:ext uri="{BB962C8B-B14F-4D97-AF65-F5344CB8AC3E}">
        <p14:creationId xmlns:p14="http://schemas.microsoft.com/office/powerpoint/2010/main" val="20881781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NGAGE" val="{&quot;SavedSwatch&quot;:&quot;-11579311|-10846711|-14797230|-8244963|-11249614|PSPC&quot;,&quot;Id&quot;:&quot;60db1acd393543073451ea71&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Retrospect</Template>
  <TotalTime>8006</TotalTime>
  <Words>1624</Words>
  <Application>Microsoft Office PowerPoint</Application>
  <PresentationFormat>Widescreen</PresentationFormat>
  <Paragraphs>115</Paragraphs>
  <Slides>16</Slides>
  <Notes>1</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5" baseType="lpstr">
      <vt:lpstr>Arial</vt:lpstr>
      <vt:lpstr>Calibri</vt:lpstr>
      <vt:lpstr>Courier New</vt:lpstr>
      <vt:lpstr>Georgia</vt:lpstr>
      <vt:lpstr>Symbol</vt:lpstr>
      <vt:lpstr>Times New Roman</vt:lpstr>
      <vt:lpstr>Wingdings</vt:lpstr>
      <vt:lpstr>Office Theme</vt:lpstr>
      <vt:lpstr>think-cell Slide</vt:lpstr>
      <vt:lpstr>First engagement activity  with employees</vt:lpstr>
      <vt:lpstr>How to use this document</vt:lpstr>
      <vt:lpstr>Opening session</vt:lpstr>
      <vt:lpstr>EXAMPLE: RULES OF ENGAGEMENT</vt:lpstr>
      <vt:lpstr>Departmental modernization strategy</vt:lpstr>
      <vt:lpstr>XYZ project workplace vision</vt:lpstr>
      <vt:lpstr>The workplace of the future</vt:lpstr>
      <vt:lpstr>What will the future workplace look like?</vt:lpstr>
      <vt:lpstr>Project(s) timeline</vt:lpstr>
      <vt:lpstr>How will you be supported during this transition?</vt:lpstr>
      <vt:lpstr>How can you participate?</vt:lpstr>
      <vt:lpstr>Next steps</vt:lpstr>
      <vt:lpstr>Q&amp;A</vt:lpstr>
      <vt:lpstr>Annex</vt:lpstr>
      <vt:lpstr>GOOD PRACTICES to facilitate engagement sessions</vt:lpstr>
      <vt:lpstr>GOOD PRACTICES to facilitate engagement sessions (cont.)</vt:lpstr>
    </vt:vector>
  </TitlesOfParts>
  <Company>Government of Canada\Gouvernement du Canada</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antal Bemeur</dc:creator>
  <cp:lastModifiedBy>Nadiah Sadighi</cp:lastModifiedBy>
  <cp:revision>68</cp:revision>
  <dcterms:created xsi:type="dcterms:W3CDTF">2021-04-06T12:43:15Z</dcterms:created>
  <dcterms:modified xsi:type="dcterms:W3CDTF">2021-06-29T13:06:23Z</dcterms:modified>
</cp:coreProperties>
</file>